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  <p:sldMasterId id="2147483677" r:id="rId3"/>
    <p:sldMasterId id="2147483687" r:id="rId4"/>
  </p:sldMasterIdLst>
  <p:notesMasterIdLst>
    <p:notesMasterId r:id="rId32"/>
  </p:notesMasterIdLst>
  <p:sldIdLst>
    <p:sldId id="273" r:id="rId5"/>
    <p:sldId id="258" r:id="rId6"/>
    <p:sldId id="282" r:id="rId7"/>
    <p:sldId id="309" r:id="rId8"/>
    <p:sldId id="308" r:id="rId9"/>
    <p:sldId id="310" r:id="rId10"/>
    <p:sldId id="311" r:id="rId11"/>
    <p:sldId id="312" r:id="rId12"/>
    <p:sldId id="313" r:id="rId13"/>
    <p:sldId id="314" r:id="rId14"/>
    <p:sldId id="330" r:id="rId15"/>
    <p:sldId id="298" r:id="rId16"/>
    <p:sldId id="315" r:id="rId17"/>
    <p:sldId id="316" r:id="rId18"/>
    <p:sldId id="317" r:id="rId19"/>
    <p:sldId id="318" r:id="rId20"/>
    <p:sldId id="319" r:id="rId21"/>
    <p:sldId id="320" r:id="rId22"/>
    <p:sldId id="321" r:id="rId23"/>
    <p:sldId id="322" r:id="rId24"/>
    <p:sldId id="327" r:id="rId25"/>
    <p:sldId id="323" r:id="rId26"/>
    <p:sldId id="328" r:id="rId27"/>
    <p:sldId id="325" r:id="rId28"/>
    <p:sldId id="329" r:id="rId29"/>
    <p:sldId id="287" r:id="rId30"/>
    <p:sldId id="286" r:id="rId3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875" autoAdjust="0"/>
    <p:restoredTop sz="95226" autoAdjust="0"/>
  </p:normalViewPr>
  <p:slideViewPr>
    <p:cSldViewPr>
      <p:cViewPr varScale="1">
        <p:scale>
          <a:sx n="86" d="100"/>
          <a:sy n="86" d="100"/>
        </p:scale>
        <p:origin x="1618" y="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0C587E-D380-4F97-BEA9-06851DDE65E8}" type="datetimeFigureOut">
              <a:rPr lang="en-US" smtClean="0"/>
              <a:t>6/7/2019</a:t>
            </a:fld>
            <a:endParaRPr lang="en-U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B64DBE-7402-488B-B662-60A15DD400A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1843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5702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E2601-95AE-4257-9668-B4375FD1C93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3586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jpeg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2741470" y="560855"/>
            <a:ext cx="4659986" cy="5741604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/>
        </p:nvCxnSpPr>
        <p:spPr>
          <a:xfrm>
            <a:off x="536578" y="1618752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536578" y="4221087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41577" y="1700810"/>
            <a:ext cx="4979465" cy="1872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 b="1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1969" y="3634979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11967" y="3933063"/>
            <a:ext cx="1296665" cy="288033"/>
          </a:xfrm>
        </p:spPr>
        <p:txBody>
          <a:bodyPr anchor="ctr">
            <a:noAutofit/>
          </a:bodyPr>
          <a:lstStyle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6073205" y="5126499"/>
            <a:ext cx="2581452" cy="976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1871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2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347108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922855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93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02285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93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1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41972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1"/>
            <a:ext cx="4818710" cy="4569117"/>
          </a:xfrm>
        </p:spPr>
        <p:txBody>
          <a:bodyPr numCol="2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1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03423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5" y="1353441"/>
            <a:ext cx="2550161" cy="4569117"/>
          </a:xfrm>
        </p:spPr>
        <p:txBody>
          <a:bodyPr numCol="1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1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26429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1"/>
            <a:ext cx="2190323" cy="4569117"/>
          </a:xfrm>
        </p:spPr>
        <p:txBody>
          <a:bodyPr numCol="1" spcCol="280693"/>
          <a:lstStyle>
            <a:lvl1pPr marL="0" marR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84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1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45109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2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50035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2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33667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3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5339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Breaker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/>
          <p:cNvGrpSpPr/>
          <p:nvPr/>
        </p:nvGrpSpPr>
        <p:grpSpPr>
          <a:xfrm>
            <a:off x="1209064" y="1028804"/>
            <a:ext cx="7446789" cy="5829202"/>
            <a:chOff x="735726" y="1020138"/>
            <a:chExt cx="7922092" cy="5847385"/>
          </a:xfrm>
        </p:grpSpPr>
        <p:sp>
          <p:nvSpPr>
            <p:cNvPr id="16" name="Rectangle 3"/>
            <p:cNvSpPr/>
            <p:nvPr userDrawn="1"/>
          </p:nvSpPr>
          <p:spPr>
            <a:xfrm rot="2700000">
              <a:off x="3801387" y="742685"/>
              <a:ext cx="1790769" cy="7922092"/>
            </a:xfrm>
            <a:custGeom>
              <a:avLst/>
              <a:gdLst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0 w 1771355"/>
                <a:gd name="connsiteY3" fmla="*/ 8124148 h 8124148"/>
                <a:gd name="connsiteX4" fmla="*/ 0 w 1771355"/>
                <a:gd name="connsiteY4" fmla="*/ 0 h 8124148"/>
                <a:gd name="connsiteX0" fmla="*/ 0 w 1771355"/>
                <a:gd name="connsiteY0" fmla="*/ 0 h 8124148"/>
                <a:gd name="connsiteX1" fmla="*/ 1771355 w 1771355"/>
                <a:gd name="connsiteY1" fmla="*/ 0 h 8124148"/>
                <a:gd name="connsiteX2" fmla="*/ 1771355 w 1771355"/>
                <a:gd name="connsiteY2" fmla="*/ 8124148 h 8124148"/>
                <a:gd name="connsiteX3" fmla="*/ 6736 w 1771355"/>
                <a:gd name="connsiteY3" fmla="*/ 7922092 h 8124148"/>
                <a:gd name="connsiteX4" fmla="*/ 0 w 1771355"/>
                <a:gd name="connsiteY4" fmla="*/ 0 h 8124148"/>
                <a:gd name="connsiteX0" fmla="*/ 0 w 1771355"/>
                <a:gd name="connsiteY0" fmla="*/ 0 h 7922092"/>
                <a:gd name="connsiteX1" fmla="*/ 1771355 w 1771355"/>
                <a:gd name="connsiteY1" fmla="*/ 0 h 7922092"/>
                <a:gd name="connsiteX2" fmla="*/ 1771355 w 1771355"/>
                <a:gd name="connsiteY2" fmla="*/ 6144002 h 7922092"/>
                <a:gd name="connsiteX3" fmla="*/ 6736 w 1771355"/>
                <a:gd name="connsiteY3" fmla="*/ 7922092 h 7922092"/>
                <a:gd name="connsiteX4" fmla="*/ 0 w 1771355"/>
                <a:gd name="connsiteY4" fmla="*/ 0 h 792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1355" h="7922092">
                  <a:moveTo>
                    <a:pt x="0" y="0"/>
                  </a:moveTo>
                  <a:lnTo>
                    <a:pt x="1771355" y="0"/>
                  </a:lnTo>
                  <a:lnTo>
                    <a:pt x="1771355" y="6144002"/>
                  </a:lnTo>
                  <a:lnTo>
                    <a:pt x="6736" y="7922092"/>
                  </a:lnTo>
                  <a:cubicBezTo>
                    <a:pt x="4491" y="5281395"/>
                    <a:pt x="2245" y="2640697"/>
                    <a:pt x="0" y="0"/>
                  </a:cubicBezTo>
                  <a:close/>
                </a:path>
              </a:pathLst>
            </a:custGeom>
            <a:solidFill>
              <a:srgbClr val="9999BA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557963" y="1958405"/>
              <a:ext cx="1760399" cy="4909118"/>
            </a:xfrm>
            <a:prstGeom prst="rect">
              <a:avLst/>
            </a:prstGeom>
            <a:solidFill>
              <a:srgbClr val="5BB7E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" name="Freeform 17"/>
            <p:cNvSpPr/>
            <p:nvPr userDrawn="1"/>
          </p:nvSpPr>
          <p:spPr>
            <a:xfrm>
              <a:off x="6557963" y="1842338"/>
              <a:ext cx="1550195" cy="2233614"/>
            </a:xfrm>
            <a:custGeom>
              <a:avLst/>
              <a:gdLst>
                <a:gd name="connsiteX0" fmla="*/ 114300 w 1543050"/>
                <a:gd name="connsiteY0" fmla="*/ 1590675 h 2200275"/>
                <a:gd name="connsiteX1" fmla="*/ 0 w 1543050"/>
                <a:gd name="connsiteY1" fmla="*/ 0 h 2200275"/>
                <a:gd name="connsiteX2" fmla="*/ 1543050 w 1543050"/>
                <a:gd name="connsiteY2" fmla="*/ 666750 h 2200275"/>
                <a:gd name="connsiteX3" fmla="*/ 0 w 1543050"/>
                <a:gd name="connsiteY3" fmla="*/ 2200275 h 2200275"/>
                <a:gd name="connsiteX4" fmla="*/ 0 w 1543050"/>
                <a:gd name="connsiteY4" fmla="*/ 9525 h 2200275"/>
                <a:gd name="connsiteX5" fmla="*/ 0 w 1543050"/>
                <a:gd name="connsiteY5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0" fmla="*/ 0 w 1543050"/>
                <a:gd name="connsiteY0" fmla="*/ 0 h 2200275"/>
                <a:gd name="connsiteX1" fmla="*/ 1543050 w 1543050"/>
                <a:gd name="connsiteY1" fmla="*/ 666750 h 2200275"/>
                <a:gd name="connsiteX2" fmla="*/ 0 w 1543050"/>
                <a:gd name="connsiteY2" fmla="*/ 2200275 h 2200275"/>
                <a:gd name="connsiteX3" fmla="*/ 0 w 1543050"/>
                <a:gd name="connsiteY3" fmla="*/ 9525 h 2200275"/>
                <a:gd name="connsiteX4" fmla="*/ 0 w 1543050"/>
                <a:gd name="connsiteY4" fmla="*/ 0 h 2200275"/>
                <a:gd name="connsiteX0" fmla="*/ 0 w 1552575"/>
                <a:gd name="connsiteY0" fmla="*/ 0 h 2200275"/>
                <a:gd name="connsiteX1" fmla="*/ 1552575 w 1552575"/>
                <a:gd name="connsiteY1" fmla="*/ 647984 h 2200275"/>
                <a:gd name="connsiteX2" fmla="*/ 0 w 1552575"/>
                <a:gd name="connsiteY2" fmla="*/ 2200275 h 2200275"/>
                <a:gd name="connsiteX3" fmla="*/ 0 w 1552575"/>
                <a:gd name="connsiteY3" fmla="*/ 9525 h 2200275"/>
                <a:gd name="connsiteX4" fmla="*/ 0 w 1552575"/>
                <a:gd name="connsiteY4" fmla="*/ 0 h 2200275"/>
                <a:gd name="connsiteX0" fmla="*/ 0 w 1547813"/>
                <a:gd name="connsiteY0" fmla="*/ 0 h 2200275"/>
                <a:gd name="connsiteX1" fmla="*/ 1547813 w 1547813"/>
                <a:gd name="connsiteY1" fmla="*/ 647984 h 2200275"/>
                <a:gd name="connsiteX2" fmla="*/ 0 w 1547813"/>
                <a:gd name="connsiteY2" fmla="*/ 2200275 h 2200275"/>
                <a:gd name="connsiteX3" fmla="*/ 0 w 1547813"/>
                <a:gd name="connsiteY3" fmla="*/ 9525 h 2200275"/>
                <a:gd name="connsiteX4" fmla="*/ 0 w 1547813"/>
                <a:gd name="connsiteY4" fmla="*/ 0 h 2200275"/>
                <a:gd name="connsiteX0" fmla="*/ 0 w 1550195"/>
                <a:gd name="connsiteY0" fmla="*/ 0 h 2200275"/>
                <a:gd name="connsiteX1" fmla="*/ 1550195 w 1550195"/>
                <a:gd name="connsiteY1" fmla="*/ 647984 h 2200275"/>
                <a:gd name="connsiteX2" fmla="*/ 0 w 1550195"/>
                <a:gd name="connsiteY2" fmla="*/ 2200275 h 2200275"/>
                <a:gd name="connsiteX3" fmla="*/ 0 w 1550195"/>
                <a:gd name="connsiteY3" fmla="*/ 9525 h 2200275"/>
                <a:gd name="connsiteX4" fmla="*/ 0 w 1550195"/>
                <a:gd name="connsiteY4" fmla="*/ 0 h 2200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50195" h="2200275">
                  <a:moveTo>
                    <a:pt x="0" y="0"/>
                  </a:moveTo>
                  <a:lnTo>
                    <a:pt x="1550195" y="647984"/>
                  </a:lnTo>
                  <a:lnTo>
                    <a:pt x="0" y="2200275"/>
                  </a:lnTo>
                  <a:lnTo>
                    <a:pt x="0" y="95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7FB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" name="Oval 18"/>
            <p:cNvSpPr/>
            <p:nvPr userDrawn="1"/>
          </p:nvSpPr>
          <p:spPr>
            <a:xfrm>
              <a:off x="6556290" y="1020138"/>
              <a:ext cx="1762072" cy="1790769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32370" y="1648900"/>
            <a:ext cx="4975735" cy="2520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sz="3200" b="0"/>
            </a:lvl1pPr>
          </a:lstStyle>
          <a:p>
            <a:r>
              <a:rPr lang="en-US" dirty="0"/>
              <a:t>Divider 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536578" y="4273000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0753766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760749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71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50088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71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2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6505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2"/>
            <a:ext cx="4818710" cy="4569117"/>
          </a:xfrm>
        </p:spPr>
        <p:txBody>
          <a:bodyPr numCol="2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2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78098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2"/>
            <a:ext cx="2550161" cy="4569117"/>
          </a:xfrm>
        </p:spPr>
        <p:txBody>
          <a:bodyPr numCol="1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2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8537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2"/>
            <a:ext cx="2190323" cy="4569117"/>
          </a:xfrm>
        </p:spPr>
        <p:txBody>
          <a:bodyPr numCol="1" spcCol="280671"/>
          <a:lstStyle>
            <a:lvl1pPr marL="0" marR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920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2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55369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3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9040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3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5049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4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42729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964122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9554" y="395345"/>
            <a:ext cx="8072469" cy="709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0106" rIns="0" bIns="40106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01050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40065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ntro, 2 Column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4818710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3" y="2758487"/>
            <a:ext cx="4818710" cy="3164070"/>
          </a:xfrm>
        </p:spPr>
        <p:txBody>
          <a:bodyPr numCol="2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3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14188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3"/>
            <a:ext cx="4818710" cy="4569117"/>
          </a:xfrm>
        </p:spPr>
        <p:txBody>
          <a:bodyPr numCol="2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538278" y="1353443"/>
            <a:ext cx="3066560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20863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3"/>
            <a:ext cx="2550161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7884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 Header &amp;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3" y="1353443"/>
            <a:ext cx="2190323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0627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9553" y="1353444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a tab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0769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39553" y="1353444"/>
            <a:ext cx="8068370" cy="4569117"/>
          </a:xfr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50603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2652759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Blank Slide">
    <p:bg>
      <p:bgPr>
        <a:solidFill>
          <a:srgbClr val="D7E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11" name="Rectangle 10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Oval 11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Oval 12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302877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a Header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39556" y="1353443"/>
            <a:ext cx="2550161" cy="4569117"/>
          </a:xfrm>
        </p:spPr>
        <p:txBody>
          <a:bodyPr numCol="1" spcCol="280649"/>
          <a:lstStyle>
            <a:lvl1pPr marL="0" marR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801856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Paragraph Heading</a:t>
            </a:r>
          </a:p>
          <a:p>
            <a:pPr lvl="1"/>
            <a:r>
              <a:rPr lang="en-IN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252811" y="1353443"/>
            <a:ext cx="5350645" cy="4569117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26175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ro &amp;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3" y="1353439"/>
            <a:ext cx="8065286" cy="1328359"/>
          </a:xfrm>
        </p:spPr>
        <p:txBody>
          <a:bodyPr/>
          <a:lstStyle>
            <a:lvl1pPr>
              <a:defRPr>
                <a:solidFill>
                  <a:srgbClr val="47254B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9554" y="2758487"/>
            <a:ext cx="8065081" cy="3164070"/>
          </a:xfrm>
        </p:spPr>
        <p:txBody>
          <a:bodyPr numCol="3" spcCol="280649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50703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 userDrawn="1"/>
        </p:nvGrpSpPr>
        <p:grpSpPr>
          <a:xfrm>
            <a:off x="2741470" y="560855"/>
            <a:ext cx="4659986" cy="5741604"/>
            <a:chOff x="2535069" y="594571"/>
            <a:chExt cx="4850032" cy="5634753"/>
          </a:xfrm>
        </p:grpSpPr>
        <p:sp>
          <p:nvSpPr>
            <p:cNvPr id="9" name="Rectangle 8"/>
            <p:cNvSpPr/>
            <p:nvPr userDrawn="1"/>
          </p:nvSpPr>
          <p:spPr>
            <a:xfrm rot="2595032">
              <a:off x="4442488" y="594571"/>
              <a:ext cx="1050039" cy="563475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329186" y="882812"/>
              <a:ext cx="1055915" cy="1055915"/>
            </a:xfrm>
            <a:prstGeom prst="ellipse">
              <a:avLst/>
            </a:prstGeom>
            <a:solidFill>
              <a:srgbClr val="315E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2535069" y="4906882"/>
              <a:ext cx="1055915" cy="105591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3" name="Straight Connector 12"/>
          <p:cNvCxnSpPr/>
          <p:nvPr userDrawn="1"/>
        </p:nvCxnSpPr>
        <p:spPr>
          <a:xfrm>
            <a:off x="536578" y="1618752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536578" y="4221087"/>
            <a:ext cx="4969073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41577" y="1700810"/>
            <a:ext cx="4979465" cy="1872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3200" b="1"/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1969" y="3634979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Secondary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37366" y="3933063"/>
            <a:ext cx="1571266" cy="288033"/>
          </a:xfrm>
        </p:spPr>
        <p:txBody>
          <a:bodyPr anchor="ctr">
            <a:noAutofit/>
          </a:bodyPr>
          <a:lstStyle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err="1"/>
              <a:t>mmmm</a:t>
            </a:r>
            <a:r>
              <a:rPr lang="en-US" dirty="0"/>
              <a:t> d, </a:t>
            </a:r>
            <a:r>
              <a:rPr lang="en-US" dirty="0" err="1"/>
              <a:t>yyyy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27795" r="5170" b="27021"/>
          <a:stretch/>
        </p:blipFill>
        <p:spPr>
          <a:xfrm>
            <a:off x="6073205" y="5126499"/>
            <a:ext cx="2581452" cy="976230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48121" y="5447237"/>
            <a:ext cx="1386607" cy="557807"/>
          </a:xfrm>
        </p:spPr>
        <p:txBody>
          <a:bodyPr anchor="ctr">
            <a:normAutofit/>
          </a:bodyPr>
          <a:lstStyle>
            <a:lvl1pPr>
              <a:defRPr sz="1100"/>
            </a:lvl1pPr>
          </a:lstStyle>
          <a:p>
            <a:r>
              <a:rPr lang="en-GB" dirty="0"/>
              <a:t>‘Space for client logo, delete if not needed’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51969" y="4247441"/>
            <a:ext cx="4969073" cy="288033"/>
          </a:xfrm>
        </p:spPr>
        <p:txBody>
          <a:bodyPr anchor="ctr">
            <a:noAutofit/>
          </a:bodyPr>
          <a:lstStyle>
            <a:lvl1pPr marL="0" marR="0" indent="0" algn="l" defTabSz="802112" rtl="0" eaLnBrk="1" fontAlgn="base" latinLnBrk="0" hangingPunct="1">
              <a:lnSpc>
                <a:spcPct val="100000"/>
              </a:lnSpc>
              <a:spcBef>
                <a:spcPts val="526"/>
              </a:spcBef>
              <a:spcAft>
                <a:spcPts val="263"/>
              </a:spcAft>
              <a:buClr>
                <a:schemeClr val="tx1"/>
              </a:buClr>
              <a:buSzTx/>
              <a:buFontTx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GB" sz="1600" kern="0" dirty="0">
                <a:solidFill>
                  <a:srgbClr val="939598"/>
                </a:solidFill>
              </a:rPr>
              <a:t>Presenter’s Name</a:t>
            </a:r>
          </a:p>
        </p:txBody>
      </p:sp>
    </p:spTree>
    <p:extLst>
      <p:ext uri="{BB962C8B-B14F-4D97-AF65-F5344CB8AC3E}">
        <p14:creationId xmlns:p14="http://schemas.microsoft.com/office/powerpoint/2010/main" val="18973752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‹Nº›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9554" y="1353442"/>
            <a:ext cx="8072469" cy="456911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21182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vmlDrawing" Target="../drawings/vmlDrawing8.vml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vmlDrawing" Target="../drawings/vmlDrawing9.vml"/><Relationship Id="rId5" Type="http://schemas.openxmlformats.org/officeDocument/2006/relationships/slideLayout" Target="../slideLayouts/slideLayout23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oleObject" Target="../embeddings/oleObject10.bin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vmlDrawing" Target="../drawings/vmlDrawing10.vml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39"/>
            <a:ext cx="8072469" cy="4569117"/>
          </a:xfrm>
          <a:prstGeom prst="rect">
            <a:avLst/>
          </a:prstGeom>
        </p:spPr>
        <p:txBody>
          <a:bodyPr vert="horz" lIns="0" tIns="40106" rIns="0" bIns="4010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sz="1200"/>
              <a:t>Fifth level</a:t>
            </a:r>
            <a:endParaRPr lang="en-GB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5"/>
            <a:ext cx="8072469" cy="709521"/>
          </a:xfrm>
          <a:prstGeom prst="rect">
            <a:avLst/>
          </a:prstGeom>
        </p:spPr>
        <p:txBody>
          <a:bodyPr vert="horz" lIns="0" tIns="40106" rIns="0" bIns="40106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0" y="6335820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AB11E1-93EA-42B1-9A68-9B0FF2D2DF95}" type="slidenum">
              <a:rPr lang="en-US" smtClean="0"/>
              <a:t>‹Nº›</a:t>
            </a:fld>
            <a:endParaRPr lang="en-US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1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©2017 Evalueserve. All rights reserved.</a:t>
            </a:r>
          </a:p>
        </p:txBody>
      </p:sp>
      <p:cxnSp>
        <p:nvCxnSpPr>
          <p:cNvPr id="25" name="Straight Connector 24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>
          <a:xfrm>
            <a:off x="8500856" y="6023409"/>
            <a:ext cx="440250" cy="485443"/>
            <a:chOff x="2525486" y="2990420"/>
            <a:chExt cx="2868465" cy="2982435"/>
          </a:xfrm>
        </p:grpSpPr>
        <p:sp>
          <p:nvSpPr>
            <p:cNvPr id="32" name="Rectangle 31"/>
            <p:cNvSpPr/>
            <p:nvPr userDrawn="1"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11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8682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97" r:id="rId6"/>
    <p:sldLayoutId id="2147483698" r:id="rId7"/>
    <p:sldLayoutId id="2147483700" r:id="rId8"/>
    <p:sldLayoutId id="2147483701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tx1">
              <a:lumMod val="65000"/>
              <a:lumOff val="35000"/>
            </a:schemeClr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163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327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491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6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00528" indent="-200528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lang="en-US" sz="12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401056" indent="-200528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369" indent="-199136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2112" indent="-197743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854" indent="-197743" algn="l" rtl="0" eaLnBrk="1" fontAlgn="base" hangingPunct="1">
        <a:spcBef>
          <a:spcPts val="526"/>
        </a:spcBef>
        <a:spcAft>
          <a:spcPts val="263"/>
        </a:spcAft>
        <a:buClr>
          <a:schemeClr val="tx1">
            <a:lumMod val="65000"/>
            <a:lumOff val="35000"/>
          </a:schemeClr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781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945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400109" indent="-147627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1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2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5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5" userDrawn="1">
          <p15:clr>
            <a:srgbClr val="F26B43"/>
          </p15:clr>
        </p15:guide>
        <p15:guide id="3" pos="6345" userDrawn="1">
          <p15:clr>
            <a:srgbClr val="F26B43"/>
          </p15:clr>
        </p15:guide>
        <p15:guide id="4" orient="horz" pos="928" userDrawn="1">
          <p15:clr>
            <a:srgbClr val="F26B43"/>
          </p15:clr>
        </p15:guide>
        <p15:guide id="6" orient="horz" pos="765" userDrawn="1">
          <p15:clr>
            <a:srgbClr val="F26B43"/>
          </p15:clr>
        </p15:guide>
        <p15:guide id="7" orient="horz" pos="410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0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1"/>
            <a:ext cx="8072469" cy="4569117"/>
          </a:xfrm>
          <a:prstGeom prst="rect">
            <a:avLst/>
          </a:prstGeom>
        </p:spPr>
        <p:txBody>
          <a:bodyPr vert="horz" lIns="0" tIns="40103" rIns="0" bIns="4010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7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204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1" y="6335821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2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3140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tx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126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2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38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508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727" indent="-200512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1024" indent="-200512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321" indent="-199120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2048" indent="-197727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775" indent="-197727" algn="l" rtl="0" eaLnBrk="1" fontAlgn="base" hangingPunct="1">
        <a:spcBef>
          <a:spcPts val="526"/>
        </a:spcBef>
        <a:spcAft>
          <a:spcPts val="263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663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790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917" indent="-147615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6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4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2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8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5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3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90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16" algn="l" defTabSz="9142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4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2"/>
            <a:ext cx="8072469" cy="4569117"/>
          </a:xfrm>
          <a:prstGeom prst="rect">
            <a:avLst/>
          </a:prstGeom>
        </p:spPr>
        <p:txBody>
          <a:bodyPr vert="horz" lIns="0" tIns="40099" rIns="0" bIns="4009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7"/>
            <a:ext cx="8072469" cy="709521"/>
          </a:xfrm>
          <a:prstGeom prst="rect">
            <a:avLst/>
          </a:prstGeom>
        </p:spPr>
        <p:txBody>
          <a:bodyPr vert="horz" lIns="0" tIns="40099" rIns="0" bIns="40099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8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2" y="6335822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3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013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chemeClr val="accent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09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181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27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362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711" indent="-200496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0992" indent="-200496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273" indent="-199104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1984" indent="-197711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696" indent="-197711" algn="l" rtl="0" eaLnBrk="1" fontAlgn="base" hangingPunct="1">
        <a:spcBef>
          <a:spcPts val="526"/>
        </a:spcBef>
        <a:spcAft>
          <a:spcPts val="263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544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635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725" indent="-147603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0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1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7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6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52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4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3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25" algn="l" defTabSz="9141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  <p15:guide id="9" orient="horz" pos="410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8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539554" y="1353443"/>
            <a:ext cx="8072469" cy="4569117"/>
          </a:xfrm>
          <a:prstGeom prst="rect">
            <a:avLst/>
          </a:prstGeom>
        </p:spPr>
        <p:txBody>
          <a:bodyPr vert="horz" lIns="0" tIns="40096" rIns="0" bIns="4009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IN" dirty="0"/>
              <a:t>Fifth level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539554" y="395348"/>
            <a:ext cx="8072469" cy="709521"/>
          </a:xfrm>
          <a:prstGeom prst="rect">
            <a:avLst/>
          </a:prstGeom>
        </p:spPr>
        <p:txBody>
          <a:bodyPr vert="horz" lIns="0" tIns="40096" rIns="0" bIns="40096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IN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8500858" y="6023409"/>
            <a:ext cx="440250" cy="485443"/>
            <a:chOff x="2525486" y="2990420"/>
            <a:chExt cx="2868465" cy="2982435"/>
          </a:xfrm>
        </p:grpSpPr>
        <p:sp>
          <p:nvSpPr>
            <p:cNvPr id="20" name="Rectangle 19"/>
            <p:cNvSpPr/>
            <p:nvPr/>
          </p:nvSpPr>
          <p:spPr>
            <a:xfrm rot="2595032">
              <a:off x="3402029" y="3219088"/>
              <a:ext cx="1050042" cy="2597756"/>
            </a:xfrm>
            <a:prstGeom prst="rect">
              <a:avLst/>
            </a:prstGeom>
            <a:solidFill>
              <a:srgbClr val="ADD6F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4338037" y="2990420"/>
              <a:ext cx="1055914" cy="1055914"/>
            </a:xfrm>
            <a:prstGeom prst="ellipse">
              <a:avLst/>
            </a:prstGeom>
            <a:solidFill>
              <a:srgbClr val="AF5E9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525486" y="4916941"/>
              <a:ext cx="1055914" cy="1055914"/>
            </a:xfrm>
            <a:prstGeom prst="ellipse">
              <a:avLst/>
            </a:prstGeom>
            <a:solidFill>
              <a:srgbClr val="EE265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80192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4883" y="6335823"/>
            <a:ext cx="1348537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20330FD-FE2A-483E-B0C7-29AD7FB3CAEB}" type="slidenum">
              <a:rPr lang="en-GB" smtClean="0"/>
              <a:pPr/>
              <a:t>‹Nº›</a:t>
            </a:fld>
            <a:r>
              <a:rPr lang="en-GB" dirty="0"/>
              <a:t> /  evalueserve.com</a:t>
            </a: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36683" y="6346826"/>
            <a:ext cx="2895600" cy="16899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©2017 Evalueserve. All rights reserved.</a:t>
            </a:r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36577" y="1162314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36577" y="381000"/>
            <a:ext cx="807290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34989" y="6335386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534989" y="6521121"/>
            <a:ext cx="790557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4490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100" b="0" dirty="0">
          <a:solidFill>
            <a:srgbClr val="47254B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054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108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163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216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526"/>
        </a:spcBef>
        <a:spcAft>
          <a:spcPts val="263"/>
        </a:spcAft>
        <a:buClr>
          <a:schemeClr val="tx1"/>
        </a:buClr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197695" indent="-200480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400960" indent="-200480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604225" indent="-199088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801920" indent="-197695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–"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9616" indent="-197695" algn="l" rtl="0" eaLnBrk="1" fontAlgn="base" hangingPunct="1">
        <a:spcBef>
          <a:spcPts val="526"/>
        </a:spcBef>
        <a:spcAft>
          <a:spcPts val="263"/>
        </a:spcAft>
        <a:buClr>
          <a:srgbClr val="47254B"/>
        </a:buClr>
        <a:buSzPct val="100000"/>
        <a:buFont typeface="Arial" panose="020B0604020202020204" pitchFamily="34" charset="0"/>
        <a:buChar char="•"/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6pPr>
      <a:lvl7pPr marL="1485426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2480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399534" indent="-147592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4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8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63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6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7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26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8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34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pos="394">
          <p15:clr>
            <a:srgbClr val="F26B43"/>
          </p15:clr>
        </p15:guide>
        <p15:guide id="3" orient="horz" pos="4109" userDrawn="1">
          <p15:clr>
            <a:srgbClr val="F26B43"/>
          </p15:clr>
        </p15:guide>
        <p15:guide id="4" pos="3426">
          <p15:clr>
            <a:srgbClr val="F26B43"/>
          </p15:clr>
        </p15:guide>
        <p15:guide id="5" pos="3306">
          <p15:clr>
            <a:srgbClr val="F26B43"/>
          </p15:clr>
        </p15:guide>
        <p15:guide id="6" pos="6341">
          <p15:clr>
            <a:srgbClr val="F26B43"/>
          </p15:clr>
        </p15:guide>
        <p15:guide id="7" orient="horz" pos="930">
          <p15:clr>
            <a:srgbClr val="F26B43"/>
          </p15:clr>
        </p15:guide>
        <p15:guide id="8" orient="horz" pos="7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www.mathbootcamps.com/what-is-a-p-value/" TargetMode="Externa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Relationship Id="rId9" Type="http://schemas.openxmlformats.org/officeDocument/2006/relationships/image" Target="../media/image5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gif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544566"/>
              </p:ext>
            </p:extLst>
          </p:nvPr>
        </p:nvGraphicFramePr>
        <p:xfrm>
          <a:off x="1359" y="1442"/>
          <a:ext cx="1358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9" y="1442"/>
                        <a:ext cx="1358" cy="144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A-Z™: Hands-On Python &amp; R In Data Scienc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Linear Regression: Simple and Multip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June 07, 2019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551969" y="4247441"/>
            <a:ext cx="4969073" cy="818814"/>
          </a:xfrm>
        </p:spPr>
        <p:txBody>
          <a:bodyPr/>
          <a:lstStyle/>
          <a:p>
            <a:r>
              <a:rPr lang="en-US" dirty="0"/>
              <a:t>Ariel Capetillo</a:t>
            </a:r>
          </a:p>
          <a:p>
            <a:r>
              <a:rPr lang="en-US" dirty="0"/>
              <a:t>Juan Carlos Urrutia</a:t>
            </a:r>
          </a:p>
        </p:txBody>
      </p:sp>
    </p:spTree>
    <p:extLst>
      <p:ext uri="{BB962C8B-B14F-4D97-AF65-F5344CB8AC3E}">
        <p14:creationId xmlns:p14="http://schemas.microsoft.com/office/powerpoint/2010/main" val="254482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0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3ABDAA1A-E552-4365-A0A4-176DB81F3B45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5478A355-6264-4ECA-BEB0-D4F94A278D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7800" y="1957329"/>
            <a:ext cx="6019800" cy="2943342"/>
          </a:xfrm>
          <a:prstGeom prst="rect">
            <a:avLst/>
          </a:prstGeom>
        </p:spPr>
      </p:pic>
      <p:sp>
        <p:nvSpPr>
          <p:cNvPr id="10" name="Elipse 9">
            <a:extLst>
              <a:ext uri="{FF2B5EF4-FFF2-40B4-BE49-F238E27FC236}">
                <a16:creationId xmlns:a16="http://schemas.microsoft.com/office/drawing/2014/main" id="{B291272D-2924-4BA5-A8EE-37FD4497C1DA}"/>
              </a:ext>
            </a:extLst>
          </p:cNvPr>
          <p:cNvSpPr/>
          <p:nvPr/>
        </p:nvSpPr>
        <p:spPr bwMode="auto">
          <a:xfrm>
            <a:off x="990600" y="3567073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4282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BC707768-50B6-4A47-9131-C0250561A1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1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781EAA5-393B-495D-92FE-9CACE70FB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4F0ADC56-75E4-422C-8E55-24EA273769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208" y="1371600"/>
            <a:ext cx="7637584" cy="434340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05F3BF07-FB58-4934-A9F6-5934826722AE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9007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9554" y="572353"/>
            <a:ext cx="8072469" cy="709521"/>
          </a:xfrm>
        </p:spPr>
        <p:txBody>
          <a:bodyPr/>
          <a:lstStyle/>
          <a:p>
            <a:pPr algn="ctr"/>
            <a:r>
              <a:rPr lang="en-US" dirty="0"/>
              <a:t>Multiple Linear Regress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2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39220A3-DFB7-4102-9BCE-4484752779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28628"/>
            <a:ext cx="8229600" cy="3600743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48C2A674-2966-4691-BB35-9547D6D28F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356" y="1637929"/>
            <a:ext cx="8906644" cy="3681413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4ED8B103-50B4-440A-BDC4-8175C77168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2141" y="1296670"/>
            <a:ext cx="8279882" cy="4092076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D233826A-8F2E-44FB-A7C4-96B9C80D94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62400" y="1066800"/>
            <a:ext cx="2971800" cy="3189692"/>
          </a:xfrm>
          <a:prstGeom prst="rect">
            <a:avLst/>
          </a:prstGeom>
        </p:spPr>
      </p:pic>
      <p:sp>
        <p:nvSpPr>
          <p:cNvPr id="13" name="Rectángulo: esquinas redondeadas 4">
            <a:extLst>
              <a:ext uri="{FF2B5EF4-FFF2-40B4-BE49-F238E27FC236}">
                <a16:creationId xmlns:a16="http://schemas.microsoft.com/office/drawing/2014/main" id="{43FB8969-4193-4907-91DD-66F21F3A9980}"/>
              </a:ext>
            </a:extLst>
          </p:cNvPr>
          <p:cNvSpPr/>
          <p:nvPr/>
        </p:nvSpPr>
        <p:spPr bwMode="auto">
          <a:xfrm>
            <a:off x="355082" y="5276818"/>
            <a:ext cx="2616718" cy="98959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What is the Dummy Variable Trap, and how to avoid it?</a:t>
            </a:r>
          </a:p>
          <a:p>
            <a:pPr algn="just"/>
            <a:r>
              <a:rPr lang="en-US" sz="1400" kern="0" dirty="0"/>
              <a:t>Hint: Multicollinearity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4" name="Rectángulo: esquinas redondeadas 4">
            <a:extLst>
              <a:ext uri="{FF2B5EF4-FFF2-40B4-BE49-F238E27FC236}">
                <a16:creationId xmlns:a16="http://schemas.microsoft.com/office/drawing/2014/main" id="{B98C16B0-F232-4769-8F9C-A0F5C2032D4F}"/>
              </a:ext>
            </a:extLst>
          </p:cNvPr>
          <p:cNvSpPr/>
          <p:nvPr/>
        </p:nvSpPr>
        <p:spPr bwMode="auto">
          <a:xfrm>
            <a:off x="3154467" y="5214572"/>
            <a:ext cx="5893318" cy="72277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What is P-value? </a:t>
            </a:r>
            <a:r>
              <a:rPr lang="en-US" sz="1400" dirty="0">
                <a:hlinkClick r:id="rId6"/>
              </a:rPr>
              <a:t>https://www.mathbootcamps.com/what-is-a-p-value/</a:t>
            </a:r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4074802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11" name="Title 6">
            <a:extLst>
              <a:ext uri="{FF2B5EF4-FFF2-40B4-BE49-F238E27FC236}">
                <a16:creationId xmlns:a16="http://schemas.microsoft.com/office/drawing/2014/main" id="{2AE3B12E-BC7C-4A21-A96C-4CA9E0E76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554" y="572353"/>
            <a:ext cx="8072469" cy="709521"/>
          </a:xfrm>
        </p:spPr>
        <p:txBody>
          <a:bodyPr/>
          <a:lstStyle/>
          <a:p>
            <a:pPr algn="ctr"/>
            <a:r>
              <a:rPr lang="en-US" dirty="0"/>
              <a:t>How to build a model?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A68E319B-299B-485A-8D92-8094AD1BF5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882" y="1784370"/>
            <a:ext cx="7772400" cy="3289260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2F3A756D-CA4B-4400-9101-167C8F7240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84123"/>
            <a:ext cx="9022081" cy="308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186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F6694C-9529-4ABB-93EB-B3A13AE25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81" y="533400"/>
            <a:ext cx="8072469" cy="709521"/>
          </a:xfrm>
        </p:spPr>
        <p:txBody>
          <a:bodyPr/>
          <a:lstStyle/>
          <a:p>
            <a:pPr algn="ctr"/>
            <a:r>
              <a:rPr lang="es-CL" dirty="0" err="1"/>
              <a:t>Backward</a:t>
            </a:r>
            <a:r>
              <a:rPr lang="es-CL" dirty="0"/>
              <a:t> </a:t>
            </a:r>
            <a:r>
              <a:rPr lang="es-CL" dirty="0" err="1"/>
              <a:t>Elimination</a:t>
            </a:r>
            <a:endParaRPr lang="en-US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9656BB6-B946-4B16-BCF7-6056304778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21EAEBB-F121-4B57-AEA6-8C383D6AD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83C4BB17-C409-4AC7-90A3-FFAD4A53C830}"/>
              </a:ext>
            </a:extLst>
          </p:cNvPr>
          <p:cNvSpPr/>
          <p:nvPr/>
        </p:nvSpPr>
        <p:spPr bwMode="auto">
          <a:xfrm>
            <a:off x="990600" y="1445590"/>
            <a:ext cx="59436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Select a significance level to maintain the variable in the model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235B8C4B-695E-45A3-ACBE-D109F14E6919}"/>
              </a:ext>
            </a:extLst>
          </p:cNvPr>
          <p:cNvSpPr/>
          <p:nvPr/>
        </p:nvSpPr>
        <p:spPr>
          <a:xfrm>
            <a:off x="308143" y="1327100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</a:rPr>
              <a:t>1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3"/>
              </a:solidFill>
              <a:effectLst/>
            </a:endParaRPr>
          </a:p>
        </p:txBody>
      </p:sp>
      <p:sp>
        <p:nvSpPr>
          <p:cNvPr id="11" name="Flecha: hacia abajo 10">
            <a:extLst>
              <a:ext uri="{FF2B5EF4-FFF2-40B4-BE49-F238E27FC236}">
                <a16:creationId xmlns:a16="http://schemas.microsoft.com/office/drawing/2014/main" id="{01E48FC3-F98C-4303-8271-ED3666DB2FCA}"/>
              </a:ext>
            </a:extLst>
          </p:cNvPr>
          <p:cNvSpPr/>
          <p:nvPr/>
        </p:nvSpPr>
        <p:spPr bwMode="auto">
          <a:xfrm>
            <a:off x="3788619" y="2054315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E31CC5A-8C87-4890-A8CE-ADEB62E61B4A}"/>
              </a:ext>
            </a:extLst>
          </p:cNvPr>
          <p:cNvSpPr/>
          <p:nvPr/>
        </p:nvSpPr>
        <p:spPr>
          <a:xfrm>
            <a:off x="308143" y="2315662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</a:rPr>
              <a:t>2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3"/>
              </a:solidFill>
              <a:effectLst/>
            </a:endParaRPr>
          </a:p>
        </p:txBody>
      </p:sp>
      <p:sp>
        <p:nvSpPr>
          <p:cNvPr id="13" name="Rectángulo: esquinas redondeadas 4">
            <a:extLst>
              <a:ext uri="{FF2B5EF4-FFF2-40B4-BE49-F238E27FC236}">
                <a16:creationId xmlns:a16="http://schemas.microsoft.com/office/drawing/2014/main" id="{187A293D-ECD4-4A50-8952-B5A5F509BEB2}"/>
              </a:ext>
            </a:extLst>
          </p:cNvPr>
          <p:cNvSpPr/>
          <p:nvPr/>
        </p:nvSpPr>
        <p:spPr bwMode="auto">
          <a:xfrm>
            <a:off x="990600" y="2458764"/>
            <a:ext cx="59436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Fit the model with all the predictors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373518B-3B86-45C3-A5DE-D399D785368D}"/>
              </a:ext>
            </a:extLst>
          </p:cNvPr>
          <p:cNvSpPr/>
          <p:nvPr/>
        </p:nvSpPr>
        <p:spPr>
          <a:xfrm>
            <a:off x="308143" y="3511287"/>
            <a:ext cx="441147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  <a:effectLst/>
              </a:rPr>
              <a:t>3</a:t>
            </a:r>
          </a:p>
        </p:txBody>
      </p:sp>
      <p:sp>
        <p:nvSpPr>
          <p:cNvPr id="15" name="Flecha: hacia abajo 14">
            <a:extLst>
              <a:ext uri="{FF2B5EF4-FFF2-40B4-BE49-F238E27FC236}">
                <a16:creationId xmlns:a16="http://schemas.microsoft.com/office/drawing/2014/main" id="{45A567C3-9B5D-4C3E-953A-51392D8D0D04}"/>
              </a:ext>
            </a:extLst>
          </p:cNvPr>
          <p:cNvSpPr/>
          <p:nvPr/>
        </p:nvSpPr>
        <p:spPr bwMode="auto">
          <a:xfrm>
            <a:off x="3788618" y="3023548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Rectángulo: esquinas redondeadas 4">
            <a:extLst>
              <a:ext uri="{FF2B5EF4-FFF2-40B4-BE49-F238E27FC236}">
                <a16:creationId xmlns:a16="http://schemas.microsoft.com/office/drawing/2014/main" id="{58FDC51C-2798-44B5-AF5F-CEF2A518DB9A}"/>
              </a:ext>
            </a:extLst>
          </p:cNvPr>
          <p:cNvSpPr/>
          <p:nvPr/>
        </p:nvSpPr>
        <p:spPr bwMode="auto">
          <a:xfrm>
            <a:off x="969884" y="3409972"/>
            <a:ext cx="7107316" cy="78066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Consider the predictor with the </a:t>
            </a:r>
            <a:r>
              <a:rPr lang="en-US" sz="1600" b="1" kern="0" dirty="0"/>
              <a:t>highest</a:t>
            </a:r>
            <a:r>
              <a:rPr lang="en-US" sz="1600" kern="0" dirty="0"/>
              <a:t> P-value. Only if P-value is over SL, go to step 4. Otherwise the model is finished.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7" name="Flecha: hacia abajo 16">
            <a:extLst>
              <a:ext uri="{FF2B5EF4-FFF2-40B4-BE49-F238E27FC236}">
                <a16:creationId xmlns:a16="http://schemas.microsoft.com/office/drawing/2014/main" id="{FF397D82-F882-45A4-94D3-FBE8468CD80E}"/>
              </a:ext>
            </a:extLst>
          </p:cNvPr>
          <p:cNvSpPr/>
          <p:nvPr/>
        </p:nvSpPr>
        <p:spPr bwMode="auto">
          <a:xfrm>
            <a:off x="3799309" y="4285557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CA9F00D2-BBE7-436E-9AE4-6FE1369BF955}"/>
              </a:ext>
            </a:extLst>
          </p:cNvPr>
          <p:cNvSpPr/>
          <p:nvPr/>
        </p:nvSpPr>
        <p:spPr>
          <a:xfrm>
            <a:off x="2514600" y="4595767"/>
            <a:ext cx="227115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  <a:effectLst/>
              </a:rPr>
              <a:t>4</a:t>
            </a:r>
          </a:p>
        </p:txBody>
      </p:sp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54DEB7CE-F0B2-4759-BFB0-4A2F127EDA3E}"/>
              </a:ext>
            </a:extLst>
          </p:cNvPr>
          <p:cNvSpPr/>
          <p:nvPr/>
        </p:nvSpPr>
        <p:spPr bwMode="auto">
          <a:xfrm>
            <a:off x="3124200" y="4690683"/>
            <a:ext cx="22860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Remove the predictor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0" name="Flecha: hacia abajo 19">
            <a:extLst>
              <a:ext uri="{FF2B5EF4-FFF2-40B4-BE49-F238E27FC236}">
                <a16:creationId xmlns:a16="http://schemas.microsoft.com/office/drawing/2014/main" id="{A95FEC81-75AF-4883-8E17-475CEEA6F713}"/>
              </a:ext>
            </a:extLst>
          </p:cNvPr>
          <p:cNvSpPr/>
          <p:nvPr/>
        </p:nvSpPr>
        <p:spPr bwMode="auto">
          <a:xfrm>
            <a:off x="3788617" y="5257305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id="{F7BBFD22-3D19-4965-8D31-78090698CEEA}"/>
              </a:ext>
            </a:extLst>
          </p:cNvPr>
          <p:cNvSpPr/>
          <p:nvPr/>
        </p:nvSpPr>
        <p:spPr bwMode="auto">
          <a:xfrm>
            <a:off x="2628157" y="5684117"/>
            <a:ext cx="3429002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Fit the model without the variable</a:t>
            </a:r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1801B0B1-0FC1-407E-9046-4E5DAC840BC6}"/>
              </a:ext>
            </a:extLst>
          </p:cNvPr>
          <p:cNvSpPr/>
          <p:nvPr/>
        </p:nvSpPr>
        <p:spPr>
          <a:xfrm>
            <a:off x="2133600" y="5550976"/>
            <a:ext cx="227115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3"/>
                </a:solidFill>
                <a:effectLst/>
              </a:rPr>
              <a:t>5</a:t>
            </a:r>
          </a:p>
        </p:txBody>
      </p:sp>
      <p:sp>
        <p:nvSpPr>
          <p:cNvPr id="27" name="Flecha: hacia abajo 26">
            <a:extLst>
              <a:ext uri="{FF2B5EF4-FFF2-40B4-BE49-F238E27FC236}">
                <a16:creationId xmlns:a16="http://schemas.microsoft.com/office/drawing/2014/main" id="{9A8AEA02-2A85-4E4E-AD06-D33CFA189300}"/>
              </a:ext>
            </a:extLst>
          </p:cNvPr>
          <p:cNvSpPr/>
          <p:nvPr/>
        </p:nvSpPr>
        <p:spPr bwMode="auto">
          <a:xfrm rot="19155025" flipV="1">
            <a:off x="1194006" y="4199175"/>
            <a:ext cx="326181" cy="1590889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842614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1" grpId="0" animBg="1"/>
      <p:bldP spid="12" grpId="0"/>
      <p:bldP spid="13" grpId="0" animBg="1"/>
      <p:bldP spid="14" grpId="0"/>
      <p:bldP spid="15" grpId="0" animBg="1"/>
      <p:bldP spid="16" grpId="0" animBg="1"/>
      <p:bldP spid="17" grpId="0" animBg="1"/>
      <p:bldP spid="18" grpId="0"/>
      <p:bldP spid="19" grpId="0" animBg="1"/>
      <p:bldP spid="20" grpId="0" animBg="1"/>
      <p:bldP spid="21" grpId="0" animBg="1"/>
      <p:bldP spid="22" grpId="0"/>
      <p:bldP spid="2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F6694C-9529-4ABB-93EB-B3A13AE25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81" y="533400"/>
            <a:ext cx="8072469" cy="709521"/>
          </a:xfrm>
        </p:spPr>
        <p:txBody>
          <a:bodyPr/>
          <a:lstStyle/>
          <a:p>
            <a:pPr algn="ctr"/>
            <a:r>
              <a:rPr lang="es-CL" dirty="0"/>
              <a:t>Forward </a:t>
            </a:r>
            <a:r>
              <a:rPr lang="es-CL" dirty="0" err="1"/>
              <a:t>Selection</a:t>
            </a:r>
            <a:endParaRPr lang="en-US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9656BB6-B946-4B16-BCF7-6056304778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21EAEBB-F121-4B57-AEA6-8C383D6AD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83C4BB17-C409-4AC7-90A3-FFAD4A53C830}"/>
              </a:ext>
            </a:extLst>
          </p:cNvPr>
          <p:cNvSpPr/>
          <p:nvPr/>
        </p:nvSpPr>
        <p:spPr bwMode="auto">
          <a:xfrm>
            <a:off x="990600" y="1445590"/>
            <a:ext cx="59436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Select a significance level to enter a variable in the model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235B8C4B-695E-45A3-ACBE-D109F14E6919}"/>
              </a:ext>
            </a:extLst>
          </p:cNvPr>
          <p:cNvSpPr/>
          <p:nvPr/>
        </p:nvSpPr>
        <p:spPr>
          <a:xfrm>
            <a:off x="308143" y="1327100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4"/>
                </a:solidFill>
              </a:rPr>
              <a:t>1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4"/>
              </a:solidFill>
              <a:effectLst/>
            </a:endParaRPr>
          </a:p>
        </p:txBody>
      </p:sp>
      <p:sp>
        <p:nvSpPr>
          <p:cNvPr id="11" name="Flecha: hacia abajo 10">
            <a:extLst>
              <a:ext uri="{FF2B5EF4-FFF2-40B4-BE49-F238E27FC236}">
                <a16:creationId xmlns:a16="http://schemas.microsoft.com/office/drawing/2014/main" id="{01E48FC3-F98C-4303-8271-ED3666DB2FCA}"/>
              </a:ext>
            </a:extLst>
          </p:cNvPr>
          <p:cNvSpPr/>
          <p:nvPr/>
        </p:nvSpPr>
        <p:spPr bwMode="auto">
          <a:xfrm>
            <a:off x="3788619" y="2054315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E31CC5A-8C87-4890-A8CE-ADEB62E61B4A}"/>
              </a:ext>
            </a:extLst>
          </p:cNvPr>
          <p:cNvSpPr/>
          <p:nvPr/>
        </p:nvSpPr>
        <p:spPr>
          <a:xfrm>
            <a:off x="308143" y="2315662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4"/>
                </a:solidFill>
              </a:rPr>
              <a:t>2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4"/>
              </a:solidFill>
              <a:effectLst/>
            </a:endParaRPr>
          </a:p>
        </p:txBody>
      </p:sp>
      <p:sp>
        <p:nvSpPr>
          <p:cNvPr id="13" name="Rectángulo: esquinas redondeadas 4">
            <a:extLst>
              <a:ext uri="{FF2B5EF4-FFF2-40B4-BE49-F238E27FC236}">
                <a16:creationId xmlns:a16="http://schemas.microsoft.com/office/drawing/2014/main" id="{187A293D-ECD4-4A50-8952-B5A5F509BEB2}"/>
              </a:ext>
            </a:extLst>
          </p:cNvPr>
          <p:cNvSpPr/>
          <p:nvPr/>
        </p:nvSpPr>
        <p:spPr bwMode="auto">
          <a:xfrm>
            <a:off x="990600" y="2458764"/>
            <a:ext cx="76962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Fit all Simple Linear Regression Models and select the one with the lowest P-value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373518B-3B86-45C3-A5DE-D399D785368D}"/>
              </a:ext>
            </a:extLst>
          </p:cNvPr>
          <p:cNvSpPr/>
          <p:nvPr/>
        </p:nvSpPr>
        <p:spPr>
          <a:xfrm>
            <a:off x="308143" y="3511287"/>
            <a:ext cx="441147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4"/>
                </a:solidFill>
                <a:effectLst/>
              </a:rPr>
              <a:t>3</a:t>
            </a:r>
          </a:p>
        </p:txBody>
      </p:sp>
      <p:sp>
        <p:nvSpPr>
          <p:cNvPr id="15" name="Flecha: hacia abajo 14">
            <a:extLst>
              <a:ext uri="{FF2B5EF4-FFF2-40B4-BE49-F238E27FC236}">
                <a16:creationId xmlns:a16="http://schemas.microsoft.com/office/drawing/2014/main" id="{45A567C3-9B5D-4C3E-953A-51392D8D0D04}"/>
              </a:ext>
            </a:extLst>
          </p:cNvPr>
          <p:cNvSpPr/>
          <p:nvPr/>
        </p:nvSpPr>
        <p:spPr bwMode="auto">
          <a:xfrm>
            <a:off x="3788618" y="3023548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Rectángulo: esquinas redondeadas 4">
            <a:extLst>
              <a:ext uri="{FF2B5EF4-FFF2-40B4-BE49-F238E27FC236}">
                <a16:creationId xmlns:a16="http://schemas.microsoft.com/office/drawing/2014/main" id="{58FDC51C-2798-44B5-AF5F-CEF2A518DB9A}"/>
              </a:ext>
            </a:extLst>
          </p:cNvPr>
          <p:cNvSpPr/>
          <p:nvPr/>
        </p:nvSpPr>
        <p:spPr bwMode="auto">
          <a:xfrm>
            <a:off x="969884" y="3409972"/>
            <a:ext cx="7107316" cy="78066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Keep this variable and fit all the possible models with one extra predictor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7" name="Flecha: hacia abajo 16">
            <a:extLst>
              <a:ext uri="{FF2B5EF4-FFF2-40B4-BE49-F238E27FC236}">
                <a16:creationId xmlns:a16="http://schemas.microsoft.com/office/drawing/2014/main" id="{FF397D82-F882-45A4-94D3-FBE8468CD80E}"/>
              </a:ext>
            </a:extLst>
          </p:cNvPr>
          <p:cNvSpPr/>
          <p:nvPr/>
        </p:nvSpPr>
        <p:spPr bwMode="auto">
          <a:xfrm>
            <a:off x="3799309" y="4285557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CA9F00D2-BBE7-436E-9AE4-6FE1369BF955}"/>
              </a:ext>
            </a:extLst>
          </p:cNvPr>
          <p:cNvSpPr/>
          <p:nvPr/>
        </p:nvSpPr>
        <p:spPr>
          <a:xfrm>
            <a:off x="1257568" y="4817567"/>
            <a:ext cx="227115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4"/>
                </a:solidFill>
                <a:effectLst/>
              </a:rPr>
              <a:t>4</a:t>
            </a:r>
          </a:p>
        </p:txBody>
      </p:sp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54DEB7CE-F0B2-4759-BFB0-4A2F127EDA3E}"/>
              </a:ext>
            </a:extLst>
          </p:cNvPr>
          <p:cNvSpPr/>
          <p:nvPr/>
        </p:nvSpPr>
        <p:spPr bwMode="auto">
          <a:xfrm>
            <a:off x="1796246" y="4723379"/>
            <a:ext cx="6073736" cy="1074435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Consider the predictor with the </a:t>
            </a:r>
            <a:r>
              <a:rPr lang="en-US" sz="1600" b="1" kern="0" dirty="0"/>
              <a:t>lowest</a:t>
            </a:r>
            <a:r>
              <a:rPr lang="en-US" sz="1600" kern="0" dirty="0"/>
              <a:t> P-value. Only if P-value is under SL, go to step 3. Otherwise the model is finished.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7" name="Flecha: hacia abajo 26">
            <a:extLst>
              <a:ext uri="{FF2B5EF4-FFF2-40B4-BE49-F238E27FC236}">
                <a16:creationId xmlns:a16="http://schemas.microsoft.com/office/drawing/2014/main" id="{9A8AEA02-2A85-4E4E-AD06-D33CFA189300}"/>
              </a:ext>
            </a:extLst>
          </p:cNvPr>
          <p:cNvSpPr/>
          <p:nvPr/>
        </p:nvSpPr>
        <p:spPr bwMode="auto">
          <a:xfrm rot="19439525" flipV="1">
            <a:off x="773552" y="4063319"/>
            <a:ext cx="362087" cy="95060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164938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1" grpId="0" animBg="1"/>
      <p:bldP spid="12" grpId="0"/>
      <p:bldP spid="13" grpId="0" animBg="1"/>
      <p:bldP spid="14" grpId="0"/>
      <p:bldP spid="15" grpId="0" animBg="1"/>
      <p:bldP spid="16" grpId="0" animBg="1"/>
      <p:bldP spid="17" grpId="0" animBg="1"/>
      <p:bldP spid="18" grpId="0"/>
      <p:bldP spid="19" grpId="0" animBg="1"/>
      <p:bldP spid="2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F6694C-9529-4ABB-93EB-B3A13AE25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881" y="533400"/>
            <a:ext cx="8072469" cy="709521"/>
          </a:xfrm>
        </p:spPr>
        <p:txBody>
          <a:bodyPr/>
          <a:lstStyle/>
          <a:p>
            <a:pPr algn="ctr"/>
            <a:r>
              <a:rPr lang="es-CL" dirty="0" err="1"/>
              <a:t>Stepwise</a:t>
            </a:r>
            <a:r>
              <a:rPr lang="es-CL" dirty="0"/>
              <a:t> </a:t>
            </a:r>
            <a:r>
              <a:rPr lang="es-CL" dirty="0" err="1"/>
              <a:t>Selection</a:t>
            </a:r>
            <a:endParaRPr lang="en-US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9656BB6-B946-4B16-BCF7-6056304778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6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21EAEBB-F121-4B57-AEA6-8C383D6AD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83C4BB17-C409-4AC7-90A3-FFAD4A53C830}"/>
              </a:ext>
            </a:extLst>
          </p:cNvPr>
          <p:cNvSpPr/>
          <p:nvPr/>
        </p:nvSpPr>
        <p:spPr bwMode="auto">
          <a:xfrm>
            <a:off x="990600" y="1445590"/>
            <a:ext cx="6553200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Select a SL to enter a variable in the model and also a SL to stay 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1" name="Flecha: hacia abajo 10">
            <a:extLst>
              <a:ext uri="{FF2B5EF4-FFF2-40B4-BE49-F238E27FC236}">
                <a16:creationId xmlns:a16="http://schemas.microsoft.com/office/drawing/2014/main" id="{01E48FC3-F98C-4303-8271-ED3666DB2FCA}"/>
              </a:ext>
            </a:extLst>
          </p:cNvPr>
          <p:cNvSpPr/>
          <p:nvPr/>
        </p:nvSpPr>
        <p:spPr bwMode="auto">
          <a:xfrm>
            <a:off x="3788619" y="2054315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E31CC5A-8C87-4890-A8CE-ADEB62E61B4A}"/>
              </a:ext>
            </a:extLst>
          </p:cNvPr>
          <p:cNvSpPr/>
          <p:nvPr/>
        </p:nvSpPr>
        <p:spPr>
          <a:xfrm>
            <a:off x="308143" y="2315662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2</a:t>
            </a:r>
            <a:endParaRPr lang="es-E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13" name="Rectángulo: esquinas redondeadas 4">
            <a:extLst>
              <a:ext uri="{FF2B5EF4-FFF2-40B4-BE49-F238E27FC236}">
                <a16:creationId xmlns:a16="http://schemas.microsoft.com/office/drawing/2014/main" id="{187A293D-ECD4-4A50-8952-B5A5F509BEB2}"/>
              </a:ext>
            </a:extLst>
          </p:cNvPr>
          <p:cNvSpPr/>
          <p:nvPr/>
        </p:nvSpPr>
        <p:spPr bwMode="auto">
          <a:xfrm>
            <a:off x="990599" y="2458764"/>
            <a:ext cx="7845257" cy="47090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Perform the next step of forward selection (New variables will need a P-Value &lt; SL)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373518B-3B86-45C3-A5DE-D399D785368D}"/>
              </a:ext>
            </a:extLst>
          </p:cNvPr>
          <p:cNvSpPr/>
          <p:nvPr/>
        </p:nvSpPr>
        <p:spPr>
          <a:xfrm>
            <a:off x="1651300" y="3447363"/>
            <a:ext cx="441147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3</a:t>
            </a:r>
          </a:p>
        </p:txBody>
      </p:sp>
      <p:sp>
        <p:nvSpPr>
          <p:cNvPr id="15" name="Flecha: hacia abajo 14">
            <a:extLst>
              <a:ext uri="{FF2B5EF4-FFF2-40B4-BE49-F238E27FC236}">
                <a16:creationId xmlns:a16="http://schemas.microsoft.com/office/drawing/2014/main" id="{45A567C3-9B5D-4C3E-953A-51392D8D0D04}"/>
              </a:ext>
            </a:extLst>
          </p:cNvPr>
          <p:cNvSpPr/>
          <p:nvPr/>
        </p:nvSpPr>
        <p:spPr bwMode="auto">
          <a:xfrm>
            <a:off x="3788618" y="3023548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Rectángulo: esquinas redondeadas 4">
            <a:extLst>
              <a:ext uri="{FF2B5EF4-FFF2-40B4-BE49-F238E27FC236}">
                <a16:creationId xmlns:a16="http://schemas.microsoft.com/office/drawing/2014/main" id="{58FDC51C-2798-44B5-AF5F-CEF2A518DB9A}"/>
              </a:ext>
            </a:extLst>
          </p:cNvPr>
          <p:cNvSpPr/>
          <p:nvPr/>
        </p:nvSpPr>
        <p:spPr bwMode="auto">
          <a:xfrm>
            <a:off x="2422456" y="3419323"/>
            <a:ext cx="4821316" cy="78066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Perform all the steps of Backward Elimination (Old variables will need a P-Value &gt; SL to stay)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17" name="Flecha: hacia abajo 16">
            <a:extLst>
              <a:ext uri="{FF2B5EF4-FFF2-40B4-BE49-F238E27FC236}">
                <a16:creationId xmlns:a16="http://schemas.microsoft.com/office/drawing/2014/main" id="{FF397D82-F882-45A4-94D3-FBE8468CD80E}"/>
              </a:ext>
            </a:extLst>
          </p:cNvPr>
          <p:cNvSpPr/>
          <p:nvPr/>
        </p:nvSpPr>
        <p:spPr bwMode="auto">
          <a:xfrm>
            <a:off x="3799309" y="4285557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CA9F00D2-BBE7-436E-9AE4-6FE1369BF955}"/>
              </a:ext>
            </a:extLst>
          </p:cNvPr>
          <p:cNvSpPr/>
          <p:nvPr/>
        </p:nvSpPr>
        <p:spPr>
          <a:xfrm>
            <a:off x="1274018" y="4664431"/>
            <a:ext cx="227115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4</a:t>
            </a:r>
          </a:p>
        </p:txBody>
      </p:sp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54DEB7CE-F0B2-4759-BFB0-4A2F127EDA3E}"/>
              </a:ext>
            </a:extLst>
          </p:cNvPr>
          <p:cNvSpPr/>
          <p:nvPr/>
        </p:nvSpPr>
        <p:spPr bwMode="auto">
          <a:xfrm>
            <a:off x="1796246" y="4723379"/>
            <a:ext cx="6073736" cy="646331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No new variables can enter and no old variables can exit 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7" name="Flecha: hacia abajo 26">
            <a:extLst>
              <a:ext uri="{FF2B5EF4-FFF2-40B4-BE49-F238E27FC236}">
                <a16:creationId xmlns:a16="http://schemas.microsoft.com/office/drawing/2014/main" id="{9A8AEA02-2A85-4E4E-AD06-D33CFA189300}"/>
              </a:ext>
            </a:extLst>
          </p:cNvPr>
          <p:cNvSpPr/>
          <p:nvPr/>
        </p:nvSpPr>
        <p:spPr bwMode="auto">
          <a:xfrm rot="18328025" flipV="1">
            <a:off x="977287" y="2877391"/>
            <a:ext cx="261731" cy="954398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Flecha: hacia abajo 19">
            <a:extLst>
              <a:ext uri="{FF2B5EF4-FFF2-40B4-BE49-F238E27FC236}">
                <a16:creationId xmlns:a16="http://schemas.microsoft.com/office/drawing/2014/main" id="{68BEC879-D26E-4EE8-8571-D63E3CBEF2DA}"/>
              </a:ext>
            </a:extLst>
          </p:cNvPr>
          <p:cNvSpPr/>
          <p:nvPr/>
        </p:nvSpPr>
        <p:spPr bwMode="auto">
          <a:xfrm>
            <a:off x="3800454" y="5440738"/>
            <a:ext cx="326181" cy="310210"/>
          </a:xfrm>
          <a:prstGeom prst="downArrow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id="{64556BC6-CC6B-4EB3-8F90-34B6D52790FF}"/>
              </a:ext>
            </a:extLst>
          </p:cNvPr>
          <p:cNvSpPr/>
          <p:nvPr/>
        </p:nvSpPr>
        <p:spPr bwMode="auto">
          <a:xfrm>
            <a:off x="2835590" y="5782349"/>
            <a:ext cx="2253617" cy="513844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The model is ready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724E2CC-4870-4337-8C9F-FAADB2E27BDD}"/>
              </a:ext>
            </a:extLst>
          </p:cNvPr>
          <p:cNvSpPr/>
          <p:nvPr/>
        </p:nvSpPr>
        <p:spPr>
          <a:xfrm>
            <a:off x="322569" y="1317945"/>
            <a:ext cx="441147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6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23" name="Rectángulo: esquinas redondeadas 4">
            <a:extLst>
              <a:ext uri="{FF2B5EF4-FFF2-40B4-BE49-F238E27FC236}">
                <a16:creationId xmlns:a16="http://schemas.microsoft.com/office/drawing/2014/main" id="{530557A9-07CB-4A8A-BA6E-89840BDE5569}"/>
              </a:ext>
            </a:extLst>
          </p:cNvPr>
          <p:cNvSpPr/>
          <p:nvPr/>
        </p:nvSpPr>
        <p:spPr bwMode="auto">
          <a:xfrm>
            <a:off x="5436185" y="5513238"/>
            <a:ext cx="3200400" cy="72875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600" kern="0" dirty="0"/>
              <a:t>What is AIC?</a:t>
            </a:r>
          </a:p>
          <a:p>
            <a:pPr algn="just"/>
            <a:r>
              <a:rPr lang="en-US" sz="1600" kern="0" dirty="0"/>
              <a:t>And BIC?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18998964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12" grpId="0"/>
      <p:bldP spid="13" grpId="0" animBg="1"/>
      <p:bldP spid="14" grpId="0"/>
      <p:bldP spid="15" grpId="0" animBg="1"/>
      <p:bldP spid="16" grpId="0" animBg="1"/>
      <p:bldP spid="17" grpId="0" animBg="1"/>
      <p:bldP spid="18" grpId="0"/>
      <p:bldP spid="19" grpId="0" animBg="1"/>
      <p:bldP spid="27" grpId="0" animBg="1"/>
      <p:bldP spid="20" grpId="0" animBg="1"/>
      <p:bldP spid="21" grpId="0" animBg="1"/>
      <p:bldP spid="22" grpId="0"/>
      <p:bldP spid="2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7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88733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ultiple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F6E5D3FB-7946-4878-8626-31FDD3A3AE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2988" y="1421574"/>
            <a:ext cx="2867025" cy="933450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245984" y="1444007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A1D9332-E351-4068-894E-148D7CFD931F}"/>
              </a:ext>
            </a:extLst>
          </p:cNvPr>
          <p:cNvSpPr/>
          <p:nvPr/>
        </p:nvSpPr>
        <p:spPr>
          <a:xfrm>
            <a:off x="272115" y="2773622"/>
            <a:ext cx="517124" cy="95104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8E52A2B9-3C51-4207-ABE7-515B8D70F8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988" y="2765139"/>
            <a:ext cx="4152900" cy="962025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C01EC6C7-0660-44EE-B373-AAD67DF8B9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3385" y="1364498"/>
            <a:ext cx="3987113" cy="2362666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6BEDAAD-D390-4397-8C6E-B1BB0FDDD3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421" y="4331887"/>
            <a:ext cx="4693693" cy="1235272"/>
          </a:xfrm>
          <a:prstGeom prst="rect">
            <a:avLst/>
          </a:prstGeom>
        </p:spPr>
      </p:pic>
      <p:sp>
        <p:nvSpPr>
          <p:cNvPr id="18" name="Rectángulo 17">
            <a:extLst>
              <a:ext uri="{FF2B5EF4-FFF2-40B4-BE49-F238E27FC236}">
                <a16:creationId xmlns:a16="http://schemas.microsoft.com/office/drawing/2014/main" id="{6A8F4445-BAB0-4055-B0BE-5472E5B0E32D}"/>
              </a:ext>
            </a:extLst>
          </p:cNvPr>
          <p:cNvSpPr/>
          <p:nvPr/>
        </p:nvSpPr>
        <p:spPr>
          <a:xfrm>
            <a:off x="280992" y="4456573"/>
            <a:ext cx="517124" cy="95104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3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0635BBFC-DC35-40A3-85E1-2259E22790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39407" y="3986795"/>
            <a:ext cx="3451091" cy="1829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42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/>
      <p:bldP spid="1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8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56448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ultiple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245983" y="1473079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4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A1D9332-E351-4068-894E-148D7CFD931F}"/>
              </a:ext>
            </a:extLst>
          </p:cNvPr>
          <p:cNvSpPr/>
          <p:nvPr/>
        </p:nvSpPr>
        <p:spPr>
          <a:xfrm>
            <a:off x="272115" y="2698696"/>
            <a:ext cx="517124" cy="95104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5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A8F4445-BAB0-4055-B0BE-5472E5B0E32D}"/>
              </a:ext>
            </a:extLst>
          </p:cNvPr>
          <p:cNvSpPr/>
          <p:nvPr/>
        </p:nvSpPr>
        <p:spPr>
          <a:xfrm>
            <a:off x="280992" y="3784238"/>
            <a:ext cx="517124" cy="95104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6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F56B123C-D189-44C3-B2A4-A6283BE481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909" y="1580659"/>
            <a:ext cx="7383891" cy="786677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51DDB0DB-2E05-4638-A5FE-9DD1286045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0120" y="2722128"/>
            <a:ext cx="4945491" cy="914400"/>
          </a:xfrm>
          <a:prstGeom prst="rect">
            <a:avLst/>
          </a:prstGeom>
        </p:spPr>
      </p:pic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41E4C5A8-8B6F-44CD-9564-8BA0B2FE8386}"/>
              </a:ext>
            </a:extLst>
          </p:cNvPr>
          <p:cNvSpPr/>
          <p:nvPr/>
        </p:nvSpPr>
        <p:spPr bwMode="auto">
          <a:xfrm>
            <a:off x="5976285" y="2474622"/>
            <a:ext cx="2895600" cy="129175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/>
              <a:t>Do </a:t>
            </a:r>
            <a:r>
              <a:rPr lang="es-CL" sz="1400" kern="0" dirty="0" err="1"/>
              <a:t>you</a:t>
            </a:r>
            <a:r>
              <a:rPr lang="es-CL" sz="1400" kern="0" dirty="0"/>
              <a:t> </a:t>
            </a:r>
            <a:r>
              <a:rPr lang="es-CL" sz="1400" kern="0" dirty="0" err="1"/>
              <a:t>see</a:t>
            </a:r>
            <a:r>
              <a:rPr lang="es-CL" sz="1400" kern="0" dirty="0"/>
              <a:t> </a:t>
            </a:r>
            <a:r>
              <a:rPr lang="es-CL" sz="1400" kern="0" dirty="0" err="1"/>
              <a:t>any</a:t>
            </a:r>
            <a:r>
              <a:rPr lang="es-CL" sz="1400" kern="0" dirty="0"/>
              <a:t> </a:t>
            </a:r>
            <a:r>
              <a:rPr lang="es-CL" sz="1400" kern="0" dirty="0" err="1"/>
              <a:t>similarity</a:t>
            </a:r>
            <a:r>
              <a:rPr lang="es-CL" sz="1400" kern="0" dirty="0"/>
              <a:t> </a:t>
            </a:r>
            <a:r>
              <a:rPr lang="es-CL" sz="1400" kern="0" dirty="0" err="1"/>
              <a:t>with</a:t>
            </a:r>
            <a:r>
              <a:rPr lang="es-CL" sz="1400" kern="0" dirty="0"/>
              <a:t> SLR?</a:t>
            </a:r>
          </a:p>
          <a:p>
            <a:pPr algn="just"/>
            <a:endParaRPr lang="es-CL" sz="1400" kern="0" dirty="0"/>
          </a:p>
          <a:p>
            <a:pPr algn="just"/>
            <a:r>
              <a:rPr lang="es-CL" sz="1400" kern="0" dirty="0" err="1"/>
              <a:t>Why</a:t>
            </a:r>
            <a:r>
              <a:rPr lang="es-CL" sz="1400" kern="0" dirty="0"/>
              <a:t> </a:t>
            </a:r>
            <a:r>
              <a:rPr lang="es-CL" sz="1400" kern="0" dirty="0" err="1"/>
              <a:t>don’t</a:t>
            </a:r>
            <a:r>
              <a:rPr lang="es-CL" sz="1400" kern="0" dirty="0"/>
              <a:t> </a:t>
            </a:r>
            <a:r>
              <a:rPr lang="es-CL" sz="1400" kern="0" dirty="0" err="1"/>
              <a:t>we</a:t>
            </a:r>
            <a:r>
              <a:rPr lang="es-CL" sz="1400" kern="0" dirty="0"/>
              <a:t> use </a:t>
            </a:r>
            <a:r>
              <a:rPr lang="es-CL" sz="1400" kern="0" dirty="0" err="1"/>
              <a:t>the</a:t>
            </a:r>
            <a:r>
              <a:rPr lang="es-CL" sz="1400" kern="0" dirty="0"/>
              <a:t> </a:t>
            </a:r>
            <a:r>
              <a:rPr lang="es-CL" sz="1400" kern="0" dirty="0" err="1"/>
              <a:t>feature</a:t>
            </a:r>
            <a:r>
              <a:rPr lang="es-CL" sz="1400" kern="0" dirty="0"/>
              <a:t> </a:t>
            </a:r>
            <a:r>
              <a:rPr lang="es-CL" sz="1400" kern="0" dirty="0" err="1"/>
              <a:t>selection</a:t>
            </a:r>
            <a:r>
              <a:rPr lang="es-CL" sz="1400" kern="0" dirty="0"/>
              <a:t> </a:t>
            </a:r>
            <a:r>
              <a:rPr lang="es-CL" sz="1400" kern="0" dirty="0" err="1"/>
              <a:t>code</a:t>
            </a:r>
            <a:r>
              <a:rPr lang="es-CL" sz="1400" kern="0" dirty="0"/>
              <a:t>?</a:t>
            </a:r>
            <a:endParaRPr lang="en-US" sz="1400" kern="0" dirty="0"/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21BD8A4B-5942-477C-9B66-3923E202CB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1909" y="3909959"/>
            <a:ext cx="3505200" cy="676275"/>
          </a:xfrm>
          <a:prstGeom prst="rect">
            <a:avLst/>
          </a:prstGeom>
        </p:spPr>
      </p:pic>
      <p:sp>
        <p:nvSpPr>
          <p:cNvPr id="21" name="Rectángulo: esquinas redondeadas 4">
            <a:extLst>
              <a:ext uri="{FF2B5EF4-FFF2-40B4-BE49-F238E27FC236}">
                <a16:creationId xmlns:a16="http://schemas.microsoft.com/office/drawing/2014/main" id="{6F19954E-FA22-4CC9-90D1-909997B885FD}"/>
              </a:ext>
            </a:extLst>
          </p:cNvPr>
          <p:cNvSpPr/>
          <p:nvPr/>
        </p:nvSpPr>
        <p:spPr bwMode="auto">
          <a:xfrm>
            <a:off x="950120" y="5055721"/>
            <a:ext cx="3418829" cy="830997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400" kern="0" dirty="0" err="1"/>
              <a:t>Why</a:t>
            </a:r>
            <a:r>
              <a:rPr lang="es-CL" sz="1400" kern="0" dirty="0"/>
              <a:t> </a:t>
            </a:r>
            <a:r>
              <a:rPr lang="es-CL" sz="1400" kern="0" dirty="0" err="1"/>
              <a:t>they</a:t>
            </a:r>
            <a:r>
              <a:rPr lang="es-CL" sz="1400" kern="0" dirty="0"/>
              <a:t> </a:t>
            </a:r>
            <a:r>
              <a:rPr lang="es-CL" sz="1400" kern="0" dirty="0" err="1"/>
              <a:t>don’t</a:t>
            </a:r>
            <a:r>
              <a:rPr lang="es-CL" sz="1400" kern="0" dirty="0"/>
              <a:t> use a </a:t>
            </a:r>
            <a:r>
              <a:rPr lang="es-CL" sz="1400" kern="0" dirty="0" err="1"/>
              <a:t>visualization</a:t>
            </a:r>
            <a:r>
              <a:rPr lang="es-CL" sz="1400" kern="0" dirty="0"/>
              <a:t> </a:t>
            </a:r>
            <a:r>
              <a:rPr lang="es-CL" sz="1400" kern="0" dirty="0" err="1"/>
              <a:t>to</a:t>
            </a:r>
            <a:r>
              <a:rPr lang="es-CL" sz="1400" kern="0" dirty="0"/>
              <a:t> compare </a:t>
            </a:r>
            <a:r>
              <a:rPr lang="es-CL" sz="1400" kern="0" dirty="0" err="1"/>
              <a:t>y_test</a:t>
            </a:r>
            <a:r>
              <a:rPr lang="es-CL" sz="1400" kern="0" dirty="0"/>
              <a:t> (y) </a:t>
            </a:r>
            <a:r>
              <a:rPr lang="es-CL" sz="1400" kern="0" dirty="0" err="1"/>
              <a:t>with</a:t>
            </a:r>
            <a:r>
              <a:rPr lang="es-CL" sz="1400" kern="0" dirty="0"/>
              <a:t> </a:t>
            </a:r>
            <a:r>
              <a:rPr lang="es-CL" sz="1400" kern="0" dirty="0" err="1"/>
              <a:t>y_pred</a:t>
            </a:r>
            <a:r>
              <a:rPr lang="es-CL" sz="1400" kern="0" dirty="0"/>
              <a:t> (y’)?</a:t>
            </a:r>
            <a:endParaRPr lang="en-US" sz="1400" kern="0" dirty="0"/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2DF5468B-3189-4FBF-9E05-25DF91CBF9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91200" y="3909959"/>
            <a:ext cx="819789" cy="2075272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C5BA1893-5166-4549-BC0E-142C9C2BAE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3277" y="3909959"/>
            <a:ext cx="823248" cy="2075272"/>
          </a:xfrm>
          <a:prstGeom prst="rect">
            <a:avLst/>
          </a:prstGeom>
        </p:spPr>
      </p:pic>
      <p:sp>
        <p:nvSpPr>
          <p:cNvPr id="22" name="Rectángulo 21">
            <a:extLst>
              <a:ext uri="{FF2B5EF4-FFF2-40B4-BE49-F238E27FC236}">
                <a16:creationId xmlns:a16="http://schemas.microsoft.com/office/drawing/2014/main" id="{963D3F64-C381-4E92-A800-1525B233257C}"/>
              </a:ext>
            </a:extLst>
          </p:cNvPr>
          <p:cNvSpPr/>
          <p:nvPr/>
        </p:nvSpPr>
        <p:spPr>
          <a:xfrm>
            <a:off x="4891271" y="4532096"/>
            <a:ext cx="81978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48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y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C437AEA9-964F-4797-AE79-86FD91540748}"/>
              </a:ext>
            </a:extLst>
          </p:cNvPr>
          <p:cNvSpPr/>
          <p:nvPr/>
        </p:nvSpPr>
        <p:spPr>
          <a:xfrm>
            <a:off x="6725756" y="4532096"/>
            <a:ext cx="81978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48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y’</a:t>
            </a:r>
          </a:p>
        </p:txBody>
      </p:sp>
    </p:spTree>
    <p:extLst>
      <p:ext uri="{BB962C8B-B14F-4D97-AF65-F5344CB8AC3E}">
        <p14:creationId xmlns:p14="http://schemas.microsoft.com/office/powerpoint/2010/main" val="280094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/>
      <p:bldP spid="18" grpId="0"/>
      <p:bldP spid="19" grpId="0" animBg="1"/>
      <p:bldP spid="21" grpId="0" animBg="1"/>
      <p:bldP spid="22" grpId="0"/>
      <p:bldP spid="2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37891A50-C9F9-43FB-93A0-63AD8E99CD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19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BEF16EF-AA1D-4C12-B975-D5B3E6F203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18D47-4CA3-48D2-8B3D-B264C4C46E2D}"/>
              </a:ext>
            </a:extLst>
          </p:cNvPr>
          <p:cNvSpPr txBox="1">
            <a:spLocks/>
          </p:cNvSpPr>
          <p:nvPr/>
        </p:nvSpPr>
        <p:spPr>
          <a:xfrm>
            <a:off x="539554" y="56448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Backwards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Eliminat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30C9523D-5B50-4903-9AF1-6CFDDED691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877" y="2033424"/>
            <a:ext cx="4240187" cy="2797828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95E7E6C6-FFB7-40D1-B20D-AD58EFEE76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8720" y="2275652"/>
            <a:ext cx="3670276" cy="26670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D37D9988-1842-4775-9F8D-1A741A6411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8401" y="2339660"/>
            <a:ext cx="3856156" cy="274320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E9C2A68F-E933-4C0D-913A-55DD40968B6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0135" y="2399497"/>
            <a:ext cx="4012689" cy="2743200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2109F376-62A6-462B-9026-567B6A97C3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26090" y="2511089"/>
            <a:ext cx="4311923" cy="279772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E0BF2B4C-CFA5-41A3-A37F-775E533BE5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26090" y="2468912"/>
            <a:ext cx="4444624" cy="2811654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D8A419EC-9FD6-4A4E-98C7-0E37D933843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87273" y="2411337"/>
            <a:ext cx="4445960" cy="2843204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70887DA8-3E2F-434C-A275-7411148016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9435" y="2386993"/>
            <a:ext cx="3670276" cy="2667000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FEBB089D-1497-4AB0-8824-DA63289D45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20428" y="2379533"/>
            <a:ext cx="3856156" cy="2743200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68474574-3C65-47EB-B8D5-0BB6366D2E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42161" y="2352525"/>
            <a:ext cx="4012689" cy="2743200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7A83522F-DA7C-494F-BE0E-A791D1C894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26090" y="2364033"/>
            <a:ext cx="4311923" cy="2797722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1AD65683-8E70-4E15-8C3E-ABFE0323D3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5824" y="2399497"/>
            <a:ext cx="4444624" cy="2811654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71A197FF-4A59-4EE5-9440-7738F8C18AD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5649" y="2037825"/>
            <a:ext cx="4413566" cy="3494145"/>
          </a:xfrm>
          <a:prstGeom prst="rect">
            <a:avLst/>
          </a:prstGeom>
        </p:spPr>
      </p:pic>
      <p:pic>
        <p:nvPicPr>
          <p:cNvPr id="23" name="Imagen 22">
            <a:extLst>
              <a:ext uri="{FF2B5EF4-FFF2-40B4-BE49-F238E27FC236}">
                <a16:creationId xmlns:a16="http://schemas.microsoft.com/office/drawing/2014/main" id="{1F9BF867-6F75-4241-9003-BF9E8A75D6D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2033424"/>
            <a:ext cx="4508310" cy="3475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395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nts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©2017 </a:t>
            </a:r>
            <a:r>
              <a:rPr lang="en-US" dirty="0" err="1"/>
              <a:t>Evalueserve</a:t>
            </a:r>
            <a:r>
              <a:rPr lang="en-US" dirty="0"/>
              <a:t>. All rights reserved.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544880" y="6335820"/>
            <a:ext cx="1348537" cy="180001"/>
          </a:xfrm>
        </p:spPr>
        <p:txBody>
          <a:bodyPr/>
          <a:lstStyle/>
          <a:p>
            <a:fld id="{E20330FD-FE2A-483E-B0C7-29AD7FB3CAEB}" type="slidenum">
              <a:rPr lang="en-GB" smtClean="0"/>
              <a:pPr/>
              <a:t>2</a:t>
            </a:fld>
            <a:r>
              <a:rPr lang="en-GB"/>
              <a:t> /  evalueserve.com</a:t>
            </a:r>
            <a:endParaRPr lang="en-GB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3170743"/>
              </p:ext>
            </p:extLst>
          </p:nvPr>
        </p:nvGraphicFramePr>
        <p:xfrm>
          <a:off x="548432" y="1307373"/>
          <a:ext cx="3861372" cy="2669270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EE2653"/>
                          </a:solidFill>
                          <a:latin typeface="+mj-lt"/>
                        </a:rPr>
                        <a:t>01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Introduction to SLR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chemeClr val="accent2"/>
                          </a:solidFill>
                          <a:latin typeface="+mj-lt"/>
                        </a:rPr>
                        <a:t>02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SLR in Python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rgbClr val="47254B"/>
                          </a:solidFill>
                          <a:latin typeface="+mj-lt"/>
                        </a:rPr>
                        <a:t>03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SLR in R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>
                          <a:solidFill>
                            <a:srgbClr val="EE2653"/>
                          </a:solidFill>
                          <a:latin typeface="+mj-lt"/>
                        </a:rPr>
                        <a:t>04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SLR </a:t>
                      </a: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Quiz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chemeClr val="accent2"/>
                          </a:solidFill>
                          <a:latin typeface="+mj-lt"/>
                        </a:rPr>
                        <a:t>05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Introduction to MLR and key concepts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BFA293D0-210C-4354-BB5D-E6F1D669A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4250232"/>
              </p:ext>
            </p:extLst>
          </p:nvPr>
        </p:nvGraphicFramePr>
        <p:xfrm>
          <a:off x="548432" y="3976643"/>
          <a:ext cx="3861372" cy="533854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2331290239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966098500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154611114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47254B"/>
                          </a:solidFill>
                          <a:latin typeface="+mj-lt"/>
                        </a:rPr>
                        <a:t>06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How</a:t>
                      </a: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to</a:t>
                      </a: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build</a:t>
                      </a:r>
                      <a:r>
                        <a:rPr lang="es-CL" sz="1300" b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 a </a:t>
                      </a:r>
                      <a:r>
                        <a:rPr lang="es-CL" sz="1300" b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model</a:t>
                      </a:r>
                      <a:endParaRPr lang="en-US" sz="13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2232170"/>
                  </a:ext>
                </a:extLst>
              </a:tr>
            </a:tbl>
          </a:graphicData>
        </a:graphic>
      </p:graphicFrame>
      <p:pic>
        <p:nvPicPr>
          <p:cNvPr id="2" name="Picture 2" descr="Image result for linear regression memes">
            <a:extLst>
              <a:ext uri="{FF2B5EF4-FFF2-40B4-BE49-F238E27FC236}">
                <a16:creationId xmlns:a16="http://schemas.microsoft.com/office/drawing/2014/main" id="{8E19C816-AF59-4F7A-A40E-94D3F3827D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1600200"/>
            <a:ext cx="2857500" cy="1952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2" name="Picture 6" descr="Image result for linear regression memes">
            <a:extLst>
              <a:ext uri="{FF2B5EF4-FFF2-40B4-BE49-F238E27FC236}">
                <a16:creationId xmlns:a16="http://schemas.microsoft.com/office/drawing/2014/main" id="{4BE9924E-B1B4-4973-9355-2FF6B9F73C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0076" y="3865576"/>
            <a:ext cx="3292947" cy="1952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DFF45B44-ED80-4ECF-8BCE-CCD3F0C60F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097022"/>
              </p:ext>
            </p:extLst>
          </p:nvPr>
        </p:nvGraphicFramePr>
        <p:xfrm>
          <a:off x="548432" y="4531751"/>
          <a:ext cx="3861372" cy="1067708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4128062449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819113815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3695751838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EE2653"/>
                          </a:solidFill>
                          <a:latin typeface="+mj-lt"/>
                        </a:rPr>
                        <a:t>07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EE265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MLR in Python</a:t>
                      </a:r>
                      <a:endParaRPr lang="en-US" sz="1300" b="0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/>
                        <a:ea typeface=""/>
                        <a:cs typeface="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3076901"/>
                  </a:ext>
                </a:extLst>
              </a:tr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chemeClr val="accent2"/>
                          </a:solidFill>
                          <a:latin typeface="+mj-lt"/>
                        </a:rPr>
                        <a:t>08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7C6C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MLR in R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125652"/>
                  </a:ext>
                </a:extLst>
              </a:tr>
            </a:tbl>
          </a:graphicData>
        </a:graphic>
      </p:graphicFrame>
      <p:graphicFrame>
        <p:nvGraphicFramePr>
          <p:cNvPr id="15" name="Tabla 14">
            <a:extLst>
              <a:ext uri="{FF2B5EF4-FFF2-40B4-BE49-F238E27FC236}">
                <a16:creationId xmlns:a16="http://schemas.microsoft.com/office/drawing/2014/main" id="{FD2E1A8A-48E6-42FD-B4E2-43BFB10DA6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4763592"/>
              </p:ext>
            </p:extLst>
          </p:nvPr>
        </p:nvGraphicFramePr>
        <p:xfrm>
          <a:off x="548432" y="5599459"/>
          <a:ext cx="3861372" cy="533854"/>
        </p:xfrm>
        <a:graphic>
          <a:graphicData uri="http://schemas.openxmlformats.org/drawingml/2006/table">
            <a:tbl>
              <a:tblPr firstRow="1" bandRow="1"/>
              <a:tblGrid>
                <a:gridCol w="549045">
                  <a:extLst>
                    <a:ext uri="{9D8B030D-6E8A-4147-A177-3AD203B41FA5}">
                      <a16:colId xmlns:a16="http://schemas.microsoft.com/office/drawing/2014/main" val="2331290239"/>
                    </a:ext>
                  </a:extLst>
                </a:gridCol>
                <a:gridCol w="116857">
                  <a:extLst>
                    <a:ext uri="{9D8B030D-6E8A-4147-A177-3AD203B41FA5}">
                      <a16:colId xmlns:a16="http://schemas.microsoft.com/office/drawing/2014/main" val="2966098500"/>
                    </a:ext>
                  </a:extLst>
                </a:gridCol>
                <a:gridCol w="3195470">
                  <a:extLst>
                    <a:ext uri="{9D8B030D-6E8A-4147-A177-3AD203B41FA5}">
                      <a16:colId xmlns:a16="http://schemas.microsoft.com/office/drawing/2014/main" val="154611114"/>
                    </a:ext>
                  </a:extLst>
                </a:gridCol>
              </a:tblGrid>
              <a:tr h="533854"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noProof="0" dirty="0">
                          <a:solidFill>
                            <a:srgbClr val="47254B"/>
                          </a:solidFill>
                          <a:latin typeface="+mj-lt"/>
                        </a:rPr>
                        <a:t>09</a:t>
                      </a:r>
                    </a:p>
                  </a:txBody>
                  <a:tcPr marL="45727" marR="45727" marT="18288" marB="18288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45727" marR="45727" marT="18288" marB="18288" anchor="ctr">
                    <a:lnL w="38100" cap="flat" cmpd="sng" algn="ctr">
                      <a:solidFill>
                        <a:srgbClr val="47254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D7E7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525660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1051324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576981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2102643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628305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315396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679626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4205287" algn="l" defTabSz="1051324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  <a:ea typeface=""/>
                          <a:cs typeface=""/>
                        </a:rPr>
                        <a:t>MLR Quiz</a:t>
                      </a:r>
                    </a:p>
                  </a:txBody>
                  <a:tcPr marL="45727" marR="45727" marT="18288" marB="18288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22321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236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CFF94E49-ADF9-4CF4-B191-3D1435501A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0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915ED6E-C515-4F14-A49E-1B79F456C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4792863-8D44-44E2-B709-D71F280C9B5E}"/>
              </a:ext>
            </a:extLst>
          </p:cNvPr>
          <p:cNvSpPr txBox="1">
            <a:spLocks/>
          </p:cNvSpPr>
          <p:nvPr/>
        </p:nvSpPr>
        <p:spPr>
          <a:xfrm>
            <a:off x="539554" y="56448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ultiple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R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8" name="Rectángulo: esquinas redondeadas 4">
            <a:extLst>
              <a:ext uri="{FF2B5EF4-FFF2-40B4-BE49-F238E27FC236}">
                <a16:creationId xmlns:a16="http://schemas.microsoft.com/office/drawing/2014/main" id="{9176088B-0455-450C-96F6-507AECAA78BB}"/>
              </a:ext>
            </a:extLst>
          </p:cNvPr>
          <p:cNvSpPr/>
          <p:nvPr/>
        </p:nvSpPr>
        <p:spPr bwMode="auto">
          <a:xfrm>
            <a:off x="2438400" y="1822036"/>
            <a:ext cx="4038600" cy="1606964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s-CL" sz="1600" b="1" dirty="0" err="1"/>
              <a:t>Now</a:t>
            </a:r>
            <a:r>
              <a:rPr lang="es-CL" sz="1600" b="1" dirty="0"/>
              <a:t>, </a:t>
            </a:r>
            <a:r>
              <a:rPr lang="es-CL" sz="1600" b="1" dirty="0" err="1"/>
              <a:t>let’s</a:t>
            </a:r>
            <a:r>
              <a:rPr lang="es-CL" sz="1600" b="1" dirty="0"/>
              <a:t> </a:t>
            </a:r>
            <a:r>
              <a:rPr lang="es-CL" sz="1600" b="1" dirty="0" err="1"/>
              <a:t>follow</a:t>
            </a:r>
            <a:r>
              <a:rPr lang="es-CL" sz="1600" b="1" dirty="0"/>
              <a:t> Ariel, as he </a:t>
            </a:r>
            <a:r>
              <a:rPr lang="es-CL" sz="1600" b="1" dirty="0" err="1"/>
              <a:t>is</a:t>
            </a:r>
            <a:r>
              <a:rPr lang="es-CL" sz="1600" b="1" dirty="0"/>
              <a:t> </a:t>
            </a:r>
            <a:r>
              <a:rPr lang="es-CL" sz="1600" b="1" dirty="0" err="1"/>
              <a:t>going</a:t>
            </a:r>
            <a:r>
              <a:rPr lang="es-CL" sz="1600" b="1" dirty="0"/>
              <a:t> </a:t>
            </a:r>
            <a:r>
              <a:rPr lang="es-CL" sz="1600" b="1" dirty="0" err="1"/>
              <a:t>to</a:t>
            </a:r>
            <a:r>
              <a:rPr lang="es-CL" sz="1600" b="1" dirty="0"/>
              <a:t> </a:t>
            </a:r>
            <a:r>
              <a:rPr lang="es-CL" sz="1600" b="1" dirty="0" err="1"/>
              <a:t>teach</a:t>
            </a:r>
            <a:r>
              <a:rPr lang="es-CL" sz="1600" b="1" dirty="0"/>
              <a:t> </a:t>
            </a:r>
            <a:r>
              <a:rPr lang="es-CL" sz="1600" b="1" dirty="0" err="1"/>
              <a:t>us</a:t>
            </a:r>
            <a:r>
              <a:rPr lang="es-CL" sz="1600" b="1" dirty="0"/>
              <a:t> </a:t>
            </a:r>
            <a:r>
              <a:rPr lang="es-CL" sz="1600" b="1" dirty="0" err="1"/>
              <a:t>how</a:t>
            </a:r>
            <a:r>
              <a:rPr lang="es-CL" sz="1600" b="1" dirty="0"/>
              <a:t> </a:t>
            </a:r>
            <a:r>
              <a:rPr lang="es-CL" sz="1600" b="1" dirty="0" err="1"/>
              <a:t>to</a:t>
            </a:r>
            <a:r>
              <a:rPr lang="es-CL" sz="1600" b="1" dirty="0"/>
              <a:t> </a:t>
            </a:r>
            <a:r>
              <a:rPr lang="es-CL" sz="1600" b="1" dirty="0" err="1"/>
              <a:t>work</a:t>
            </a:r>
            <a:r>
              <a:rPr lang="es-CL" sz="1600" b="1" dirty="0"/>
              <a:t> </a:t>
            </a:r>
            <a:r>
              <a:rPr lang="es-CL" sz="1600" b="1" dirty="0" err="1"/>
              <a:t>with</a:t>
            </a:r>
            <a:r>
              <a:rPr lang="es-CL" sz="1600" b="1" dirty="0"/>
              <a:t> MLR </a:t>
            </a:r>
          </a:p>
          <a:p>
            <a:endParaRPr lang="es-CL" sz="1600" b="1" dirty="0"/>
          </a:p>
          <a:p>
            <a:r>
              <a:rPr lang="es-CL" sz="1600" b="1" dirty="0"/>
              <a:t>In </a:t>
            </a:r>
            <a:r>
              <a:rPr lang="es-CL" sz="1600" b="1" dirty="0" err="1"/>
              <a:t>Rstudio</a:t>
            </a:r>
            <a:r>
              <a:rPr lang="es-CL" sz="1600" b="1" dirty="0"/>
              <a:t>!</a:t>
            </a:r>
            <a:endParaRPr lang="en-US" sz="1600" b="1" dirty="0"/>
          </a:p>
        </p:txBody>
      </p:sp>
      <p:pic>
        <p:nvPicPr>
          <p:cNvPr id="9" name="Picture 4" descr="Image result for rstudio">
            <a:extLst>
              <a:ext uri="{FF2B5EF4-FFF2-40B4-BE49-F238E27FC236}">
                <a16:creationId xmlns:a16="http://schemas.microsoft.com/office/drawing/2014/main" id="{4FE073AA-9465-403C-B33D-04A2E9FFE1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3810000"/>
            <a:ext cx="3810000" cy="1547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816455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CF346006-3570-41CE-B5F2-F84BF41F2E6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1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B163EDCB-85A3-4A04-A0F6-DBBCE37B45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04D03DA-9CE2-4F50-AA89-7F802723C8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781" y="558278"/>
            <a:ext cx="8072438" cy="709612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EE2653"/>
                </a:solidFill>
              </a:rPr>
              <a:t>Backwards Elimination in R</a:t>
            </a:r>
            <a:endParaRPr lang="en-US" dirty="0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D95CCAA7-7F95-45B5-AC54-6BB190A9963F}"/>
              </a:ext>
            </a:extLst>
          </p:cNvPr>
          <p:cNvSpPr/>
          <p:nvPr/>
        </p:nvSpPr>
        <p:spPr>
          <a:xfrm>
            <a:off x="838200" y="1325206"/>
            <a:ext cx="8534400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/>
              <a:t>backwardElimination</a:t>
            </a:r>
            <a:r>
              <a:rPr lang="en-US" dirty="0"/>
              <a:t> &lt;- function(x, </a:t>
            </a:r>
            <a:r>
              <a:rPr lang="en-US" dirty="0" err="1"/>
              <a:t>sl</a:t>
            </a:r>
            <a:r>
              <a:rPr lang="en-US" dirty="0"/>
              <a:t>) {</a:t>
            </a:r>
          </a:p>
          <a:p>
            <a:r>
              <a:rPr lang="en-US" dirty="0"/>
              <a:t>  </a:t>
            </a:r>
            <a:r>
              <a:rPr lang="en-US" dirty="0" err="1"/>
              <a:t>numVars</a:t>
            </a:r>
            <a:r>
              <a:rPr lang="en-US" dirty="0"/>
              <a:t> = length(x)</a:t>
            </a:r>
          </a:p>
          <a:p>
            <a:r>
              <a:rPr lang="en-US" dirty="0"/>
              <a:t>  for (</a:t>
            </a:r>
            <a:r>
              <a:rPr lang="en-US" dirty="0" err="1"/>
              <a:t>i</a:t>
            </a:r>
            <a:r>
              <a:rPr lang="en-US" dirty="0"/>
              <a:t> in c(1:numVars)){</a:t>
            </a:r>
          </a:p>
          <a:p>
            <a:r>
              <a:rPr lang="en-US" dirty="0"/>
              <a:t>    regressor = </a:t>
            </a:r>
            <a:r>
              <a:rPr lang="en-US" dirty="0" err="1"/>
              <a:t>lm</a:t>
            </a:r>
            <a:r>
              <a:rPr lang="en-US" dirty="0"/>
              <a:t>(formula = Profit ~ ., data = x)</a:t>
            </a:r>
          </a:p>
          <a:p>
            <a:r>
              <a:rPr lang="en-US" dirty="0"/>
              <a:t>    </a:t>
            </a:r>
            <a:r>
              <a:rPr lang="en-US" dirty="0" err="1"/>
              <a:t>maxVar</a:t>
            </a:r>
            <a:r>
              <a:rPr lang="en-US" dirty="0"/>
              <a:t> = max(</a:t>
            </a:r>
            <a:r>
              <a:rPr lang="en-US" dirty="0" err="1"/>
              <a:t>coef</a:t>
            </a:r>
            <a:r>
              <a:rPr lang="en-US" dirty="0"/>
              <a:t>(summary(regressor))[c(2:numVars), "</a:t>
            </a:r>
            <a:r>
              <a:rPr lang="en-US" dirty="0" err="1"/>
              <a:t>Pr</a:t>
            </a:r>
            <a:r>
              <a:rPr lang="en-US" dirty="0"/>
              <a:t>(&gt;|t|)"])</a:t>
            </a:r>
          </a:p>
          <a:p>
            <a:r>
              <a:rPr lang="en-US" dirty="0"/>
              <a:t>    if (</a:t>
            </a:r>
            <a:r>
              <a:rPr lang="en-US" dirty="0" err="1"/>
              <a:t>maxVar</a:t>
            </a:r>
            <a:r>
              <a:rPr lang="en-US" dirty="0"/>
              <a:t> &gt; </a:t>
            </a:r>
            <a:r>
              <a:rPr lang="en-US" dirty="0" err="1"/>
              <a:t>sl</a:t>
            </a:r>
            <a:r>
              <a:rPr lang="en-US" dirty="0"/>
              <a:t>){</a:t>
            </a:r>
          </a:p>
          <a:p>
            <a:r>
              <a:rPr lang="en-US" dirty="0"/>
              <a:t>      j = which(</a:t>
            </a:r>
            <a:r>
              <a:rPr lang="en-US" dirty="0" err="1"/>
              <a:t>coef</a:t>
            </a:r>
            <a:r>
              <a:rPr lang="en-US" dirty="0"/>
              <a:t>(summary(regressor))[c(2:numVars), "</a:t>
            </a:r>
            <a:r>
              <a:rPr lang="en-US" dirty="0" err="1"/>
              <a:t>Pr</a:t>
            </a:r>
            <a:r>
              <a:rPr lang="en-US" dirty="0"/>
              <a:t>(&gt;|t|)"] == </a:t>
            </a:r>
            <a:r>
              <a:rPr lang="en-US" dirty="0" err="1"/>
              <a:t>maxVar</a:t>
            </a:r>
            <a:r>
              <a:rPr lang="en-US" dirty="0"/>
              <a:t>)</a:t>
            </a:r>
          </a:p>
          <a:p>
            <a:r>
              <a:rPr lang="en-US" dirty="0"/>
              <a:t>      x = x[, -j]</a:t>
            </a:r>
          </a:p>
          <a:p>
            <a:r>
              <a:rPr lang="en-US" dirty="0"/>
              <a:t>    }</a:t>
            </a:r>
          </a:p>
          <a:p>
            <a:r>
              <a:rPr lang="en-US" dirty="0"/>
              <a:t>    </a:t>
            </a:r>
            <a:r>
              <a:rPr lang="en-US" dirty="0" err="1"/>
              <a:t>numVars</a:t>
            </a:r>
            <a:r>
              <a:rPr lang="en-US" dirty="0"/>
              <a:t> = </a:t>
            </a:r>
            <a:r>
              <a:rPr lang="en-US" dirty="0" err="1"/>
              <a:t>numVars</a:t>
            </a:r>
            <a:r>
              <a:rPr lang="en-US" dirty="0"/>
              <a:t> - 1</a:t>
            </a:r>
          </a:p>
          <a:p>
            <a:r>
              <a:rPr lang="en-US" dirty="0"/>
              <a:t>  }</a:t>
            </a:r>
          </a:p>
          <a:p>
            <a:r>
              <a:rPr lang="en-US" dirty="0"/>
              <a:t>  return(summary(regressor))</a:t>
            </a:r>
          </a:p>
          <a:p>
            <a:r>
              <a:rPr lang="en-US" dirty="0"/>
              <a:t>}</a:t>
            </a:r>
          </a:p>
          <a:p>
            <a:endParaRPr lang="en-US" dirty="0"/>
          </a:p>
          <a:p>
            <a:r>
              <a:rPr lang="en-US" dirty="0"/>
              <a:t>SL = 0.05</a:t>
            </a:r>
          </a:p>
          <a:p>
            <a:r>
              <a:rPr lang="en-US" dirty="0"/>
              <a:t>dataset = dataset[, c(1,2,3,4,5)]</a:t>
            </a:r>
          </a:p>
          <a:p>
            <a:r>
              <a:rPr lang="en-US" dirty="0" err="1"/>
              <a:t>backwardElimination</a:t>
            </a:r>
            <a:r>
              <a:rPr lang="en-US" dirty="0"/>
              <a:t>(</a:t>
            </a:r>
            <a:r>
              <a:rPr lang="en-US" dirty="0" err="1"/>
              <a:t>training_set</a:t>
            </a:r>
            <a:r>
              <a:rPr lang="en-US" dirty="0"/>
              <a:t>, SL)</a:t>
            </a:r>
          </a:p>
        </p:txBody>
      </p:sp>
    </p:spTree>
    <p:extLst>
      <p:ext uri="{BB962C8B-B14F-4D97-AF65-F5344CB8AC3E}">
        <p14:creationId xmlns:p14="http://schemas.microsoft.com/office/powerpoint/2010/main" val="137930115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2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3ABDAA1A-E552-4365-A0A4-176DB81F3B45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ultiple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C7A368D5-C591-4C7F-ADB2-B7F3AFC692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7800" y="1383513"/>
            <a:ext cx="5677760" cy="261610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55F141DB-1199-41DB-8E99-45383CD897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7800" y="3945339"/>
            <a:ext cx="5677760" cy="2331867"/>
          </a:xfrm>
          <a:prstGeom prst="rect">
            <a:avLst/>
          </a:prstGeom>
        </p:spPr>
      </p:pic>
      <p:sp>
        <p:nvSpPr>
          <p:cNvPr id="13" name="Elipse 12">
            <a:extLst>
              <a:ext uri="{FF2B5EF4-FFF2-40B4-BE49-F238E27FC236}">
                <a16:creationId xmlns:a16="http://schemas.microsoft.com/office/drawing/2014/main" id="{5EBE8885-5B61-4066-8032-587DC41A2508}"/>
              </a:ext>
            </a:extLst>
          </p:cNvPr>
          <p:cNvSpPr/>
          <p:nvPr/>
        </p:nvSpPr>
        <p:spPr bwMode="auto">
          <a:xfrm>
            <a:off x="685800" y="2702717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D13139D0-B6B9-4D43-9987-B08E3B140098}"/>
              </a:ext>
            </a:extLst>
          </p:cNvPr>
          <p:cNvSpPr/>
          <p:nvPr/>
        </p:nvSpPr>
        <p:spPr bwMode="auto">
          <a:xfrm>
            <a:off x="685800" y="4917747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217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3ABDAA1A-E552-4365-A0A4-176DB81F3B45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ultiple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9AAB5377-81A2-4E76-B12E-A91F54549B27}"/>
              </a:ext>
            </a:extLst>
          </p:cNvPr>
          <p:cNvSpPr/>
          <p:nvPr/>
        </p:nvSpPr>
        <p:spPr bwMode="auto">
          <a:xfrm>
            <a:off x="685800" y="2691566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135D34C9-B9C8-4A1B-817F-E4C6A000968C}"/>
              </a:ext>
            </a:extLst>
          </p:cNvPr>
          <p:cNvSpPr/>
          <p:nvPr/>
        </p:nvSpPr>
        <p:spPr bwMode="auto">
          <a:xfrm>
            <a:off x="762000" y="5001071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D51BC650-E47C-4D7E-82E6-8F215F50E5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0580" y="1549644"/>
            <a:ext cx="6172200" cy="2075322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00DBFB51-DA5B-44A2-9ADB-4814D73AE0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7494" y="3505200"/>
            <a:ext cx="6075285" cy="2649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98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3ABDAA1A-E552-4365-A0A4-176DB81F3B45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ultiple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7EF50D9A-EB98-47C7-AEE3-26FB8E334B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4890" y="2528849"/>
            <a:ext cx="6537407" cy="2027675"/>
          </a:xfrm>
          <a:prstGeom prst="rect">
            <a:avLst/>
          </a:prstGeom>
        </p:spPr>
      </p:pic>
      <p:sp>
        <p:nvSpPr>
          <p:cNvPr id="11" name="Elipse 10">
            <a:extLst>
              <a:ext uri="{FF2B5EF4-FFF2-40B4-BE49-F238E27FC236}">
                <a16:creationId xmlns:a16="http://schemas.microsoft.com/office/drawing/2014/main" id="{A504E222-C51B-4ACD-AF52-6122EE95BE4A}"/>
              </a:ext>
            </a:extLst>
          </p:cNvPr>
          <p:cNvSpPr/>
          <p:nvPr/>
        </p:nvSpPr>
        <p:spPr bwMode="auto">
          <a:xfrm>
            <a:off x="8432282" y="3218702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7516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D6189A5E-94EE-43B1-A9DA-0E99A69E09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2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55F72C8-85CC-4B85-A8C6-956AF7235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E3C989E-11C5-4316-A494-BA7C05122E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" y="1447800"/>
            <a:ext cx="6781800" cy="4109519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8FF58D1E-BF67-41E2-85E5-0ADF9F634988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Multiple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3023908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2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13068" y="2331313"/>
            <a:ext cx="83058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Next Session: </a:t>
            </a:r>
          </a:p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Logistic Regression</a:t>
            </a:r>
          </a:p>
          <a:p>
            <a:pPr algn="l"/>
            <a:endParaRPr lang="en-US" sz="5400" dirty="0">
              <a:solidFill>
                <a:srgbClr val="EE2653"/>
              </a:solidFill>
              <a:latin typeface="+mj-lt"/>
            </a:endParaRPr>
          </a:p>
          <a:p>
            <a:pPr algn="l"/>
            <a:r>
              <a:rPr lang="en-US" sz="4800" dirty="0">
                <a:solidFill>
                  <a:srgbClr val="EE2653"/>
                </a:solidFill>
                <a:latin typeface="+mj-lt"/>
              </a:rPr>
              <a:t>Thanks!	</a:t>
            </a:r>
            <a:r>
              <a:rPr lang="en-US" sz="5400" dirty="0">
                <a:solidFill>
                  <a:srgbClr val="EE2653"/>
                </a:solidFill>
                <a:latin typeface="+mj-lt"/>
              </a:rPr>
              <a:t>		</a:t>
            </a:r>
            <a:r>
              <a:rPr lang="en-US" dirty="0">
                <a:solidFill>
                  <a:srgbClr val="EE2653"/>
                </a:solidFill>
                <a:latin typeface="+mj-lt"/>
              </a:rPr>
              <a:t>Let’s make the complex simple…</a:t>
            </a:r>
          </a:p>
        </p:txBody>
      </p:sp>
      <p:pic>
        <p:nvPicPr>
          <p:cNvPr id="5" name="Picture 4" descr="Image result for linear regression memes">
            <a:extLst>
              <a:ext uri="{FF2B5EF4-FFF2-40B4-BE49-F238E27FC236}">
                <a16:creationId xmlns:a16="http://schemas.microsoft.com/office/drawing/2014/main" id="{F171D8F9-9A2A-43D5-8398-C80C2CA7B3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357437"/>
            <a:ext cx="1885950" cy="1885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569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AB11E1-93EA-42B1-9A68-9B0FF2D2DF95}" type="slidenum">
              <a:rPr lang="en-US" smtClean="0"/>
              <a:t>2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44880" y="762000"/>
            <a:ext cx="85991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Enjoy Machine Learning </a:t>
            </a:r>
          </a:p>
          <a:p>
            <a:pPr algn="l"/>
            <a:r>
              <a:rPr lang="en-US" sz="5400" dirty="0">
                <a:solidFill>
                  <a:srgbClr val="EE2653"/>
                </a:solidFill>
                <a:latin typeface="+mj-lt"/>
              </a:rPr>
              <a:t>				;)</a:t>
            </a:r>
          </a:p>
        </p:txBody>
      </p:sp>
      <p:pic>
        <p:nvPicPr>
          <p:cNvPr id="24578" name="Picture 2" descr="Related image">
            <a:extLst>
              <a:ext uri="{FF2B5EF4-FFF2-40B4-BE49-F238E27FC236}">
                <a16:creationId xmlns:a16="http://schemas.microsoft.com/office/drawing/2014/main" id="{77DD4E2E-978D-4034-AA8C-08B2FC92A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3479076"/>
            <a:ext cx="609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447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3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83688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41974" y="589797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kern="0" dirty="0">
                <a:solidFill>
                  <a:srgbClr val="EE2653"/>
                </a:solidFill>
                <a:latin typeface="Arial" panose="020B0604020202020204"/>
              </a:rPr>
              <a:t>Simple Linear </a:t>
            </a:r>
            <a:r>
              <a:rPr lang="es-CL" kern="0" dirty="0" err="1">
                <a:solidFill>
                  <a:srgbClr val="EE2653"/>
                </a:solidFill>
                <a:latin typeface="Arial" panose="020B0604020202020204"/>
              </a:rPr>
              <a:t>Regressi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550E3066-1D03-48E1-9AEE-B0FFC807D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9200" y="1523648"/>
            <a:ext cx="5353050" cy="1638300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0C439146-3FA7-45D0-A3D2-7E3CADBB00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2940" y="2490350"/>
            <a:ext cx="1795812" cy="817549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11F10918-708C-4C96-80E7-00C21655CB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92209" y="2537800"/>
            <a:ext cx="2241404" cy="780284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4D844AE0-28B8-4182-86B7-D371FD3AD6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6351" y="1424333"/>
            <a:ext cx="1628775" cy="666750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E349D6C9-63B9-4004-8F62-B449C631FF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49153" y="1475372"/>
            <a:ext cx="1234389" cy="666750"/>
          </a:xfrm>
          <a:prstGeom prst="rect">
            <a:avLst/>
          </a:prstGeom>
        </p:spPr>
      </p:pic>
      <p:sp>
        <p:nvSpPr>
          <p:cNvPr id="16" name="Rectángulo 15">
            <a:extLst>
              <a:ext uri="{FF2B5EF4-FFF2-40B4-BE49-F238E27FC236}">
                <a16:creationId xmlns:a16="http://schemas.microsoft.com/office/drawing/2014/main" id="{439B87BF-53C3-45A7-A160-AC9B7D39BA0B}"/>
              </a:ext>
            </a:extLst>
          </p:cNvPr>
          <p:cNvSpPr/>
          <p:nvPr/>
        </p:nvSpPr>
        <p:spPr>
          <a:xfrm>
            <a:off x="5792209" y="2026982"/>
            <a:ext cx="1725700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+ Error</a:t>
            </a:r>
            <a:endParaRPr lang="es-ES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21" name="Imagen 20">
            <a:extLst>
              <a:ext uri="{FF2B5EF4-FFF2-40B4-BE49-F238E27FC236}">
                <a16:creationId xmlns:a16="http://schemas.microsoft.com/office/drawing/2014/main" id="{727FE50A-4809-43A1-848F-4F91690122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14634" y="3429000"/>
            <a:ext cx="4880984" cy="2272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02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4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9554" y="395346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F6E5D3FB-7946-4878-8626-31FDD3A3AE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5662" y="1884841"/>
            <a:ext cx="2867025" cy="933450"/>
          </a:xfrm>
          <a:prstGeom prst="rect">
            <a:avLst/>
          </a:prstGeom>
        </p:spPr>
      </p:pic>
      <p:sp>
        <p:nvSpPr>
          <p:cNvPr id="19" name="Rectángulo: esquinas redondeadas 4">
            <a:extLst>
              <a:ext uri="{FF2B5EF4-FFF2-40B4-BE49-F238E27FC236}">
                <a16:creationId xmlns:a16="http://schemas.microsoft.com/office/drawing/2014/main" id="{0DBF2F85-BE75-407E-BF50-E253DDBD7551}"/>
              </a:ext>
            </a:extLst>
          </p:cNvPr>
          <p:cNvSpPr/>
          <p:nvPr/>
        </p:nvSpPr>
        <p:spPr bwMode="auto">
          <a:xfrm>
            <a:off x="4416425" y="1367616"/>
            <a:ext cx="3962400" cy="2131928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r>
              <a:rPr lang="en-US" sz="1400" b="1" dirty="0"/>
              <a:t>Python libraries for pre-processing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Numpy</a:t>
            </a:r>
            <a:r>
              <a:rPr lang="en-US" sz="1400" kern="0" dirty="0"/>
              <a:t>: Mathematics library. Useful for making calculation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Pyplot</a:t>
            </a:r>
            <a:r>
              <a:rPr lang="en-US" sz="1400" kern="0" dirty="0"/>
              <a:t>: Sub-library of matplotlib. Useful for plotting nice charts in Pyth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/>
              <a:t>Pandas: Most famous library for importing and managing datasets. 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C06A3562-14C3-48A5-85B8-3CF969FA4E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4" y="4279518"/>
            <a:ext cx="4010025" cy="904875"/>
          </a:xfrm>
          <a:prstGeom prst="rect">
            <a:avLst/>
          </a:prstGeom>
        </p:spPr>
      </p:pic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4800600" y="3781844"/>
            <a:ext cx="3962400" cy="2131928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We import the csv file. Then, we standardize it at our convenience (in this case, as arrays for the dependent and independent variable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/>
              <a:t>”pd” is the pandas libr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0" dirty="0" err="1"/>
              <a:t>iloc</a:t>
            </a:r>
            <a:r>
              <a:rPr lang="en-US" sz="1400" kern="0" dirty="0"/>
              <a:t> is used for specifying an index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1981097" y="1050778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A1D9332-E351-4068-894E-148D7CFD931F}"/>
              </a:ext>
            </a:extLst>
          </p:cNvPr>
          <p:cNvSpPr/>
          <p:nvPr/>
        </p:nvSpPr>
        <p:spPr>
          <a:xfrm>
            <a:off x="2057400" y="3427866"/>
            <a:ext cx="56938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539221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2" grpId="0" animBg="1"/>
      <p:bldP spid="2" grpId="0"/>
      <p:bldP spid="1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5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44880" y="58270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Pytho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5317670" y="2326949"/>
            <a:ext cx="3678657" cy="1104146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s-CL" sz="1200" kern="0" dirty="0"/>
              <a:t>L</a:t>
            </a:r>
            <a:r>
              <a:rPr lang="en-US" sz="1200" kern="0" dirty="0" err="1"/>
              <a:t>et’s</a:t>
            </a:r>
            <a:r>
              <a:rPr lang="en-US" sz="1200" kern="0" dirty="0"/>
              <a:t> talk a little bit about the parameters:</a:t>
            </a:r>
          </a:p>
          <a:p>
            <a:pPr algn="just"/>
            <a:endParaRPr lang="en-US" sz="1200" kern="0" dirty="0"/>
          </a:p>
          <a:p>
            <a:pPr algn="just"/>
            <a:r>
              <a:rPr lang="en-US" sz="1200" kern="0" dirty="0"/>
              <a:t>-</a:t>
            </a:r>
            <a:r>
              <a:rPr lang="en-US" sz="1200" kern="0" dirty="0" err="1"/>
              <a:t>fit_intercept</a:t>
            </a:r>
            <a:r>
              <a:rPr lang="en-US" sz="1200" kern="0" dirty="0"/>
              <a:t>: When shall we use it?</a:t>
            </a:r>
          </a:p>
          <a:p>
            <a:pPr algn="just"/>
            <a:r>
              <a:rPr lang="en-US" sz="1200" kern="0" dirty="0"/>
              <a:t>-normalize: What does this mean?</a:t>
            </a:r>
          </a:p>
          <a:p>
            <a:pPr algn="just"/>
            <a:r>
              <a:rPr lang="en-US" sz="1200" kern="0" dirty="0"/>
              <a:t>-</a:t>
            </a:r>
            <a:r>
              <a:rPr lang="en-US" sz="1200" kern="0" dirty="0" err="1"/>
              <a:t>n_jobs</a:t>
            </a:r>
            <a:r>
              <a:rPr lang="en-US" sz="1200" kern="0" dirty="0"/>
              <a:t>: This could optimize the process. Why?</a:t>
            </a:r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A8E658D7-FDE0-4E5D-B982-6D28060D06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9312" y="1380185"/>
            <a:ext cx="7134225" cy="769534"/>
          </a:xfrm>
          <a:prstGeom prst="rect">
            <a:avLst/>
          </a:prstGeom>
        </p:spPr>
      </p:pic>
      <p:sp>
        <p:nvSpPr>
          <p:cNvPr id="25" name="Rectángulo 24">
            <a:extLst>
              <a:ext uri="{FF2B5EF4-FFF2-40B4-BE49-F238E27FC236}">
                <a16:creationId xmlns:a16="http://schemas.microsoft.com/office/drawing/2014/main" id="{73387259-88E1-4C47-B962-70CEB80EB642}"/>
              </a:ext>
            </a:extLst>
          </p:cNvPr>
          <p:cNvSpPr/>
          <p:nvPr/>
        </p:nvSpPr>
        <p:spPr>
          <a:xfrm>
            <a:off x="155575" y="1303287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3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54FA3CC4-FD9F-453E-ADC5-E2F9E63BB4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3150" y="2485128"/>
            <a:ext cx="4408431" cy="787788"/>
          </a:xfrm>
          <a:prstGeom prst="rect">
            <a:avLst/>
          </a:prstGeom>
        </p:spPr>
      </p:pic>
      <p:sp>
        <p:nvSpPr>
          <p:cNvPr id="26" name="Rectángulo 25">
            <a:extLst>
              <a:ext uri="{FF2B5EF4-FFF2-40B4-BE49-F238E27FC236}">
                <a16:creationId xmlns:a16="http://schemas.microsoft.com/office/drawing/2014/main" id="{A78EBD9B-11F2-4F0D-A95A-E8547138700B}"/>
              </a:ext>
            </a:extLst>
          </p:cNvPr>
          <p:cNvSpPr/>
          <p:nvPr/>
        </p:nvSpPr>
        <p:spPr>
          <a:xfrm>
            <a:off x="155575" y="2349586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4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6C68E2D5-D8CE-4483-AFF9-DFC87E48A4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678" y="3493250"/>
            <a:ext cx="4057650" cy="466725"/>
          </a:xfrm>
          <a:prstGeom prst="rect">
            <a:avLst/>
          </a:prstGeom>
        </p:spPr>
      </p:pic>
      <p:sp>
        <p:nvSpPr>
          <p:cNvPr id="29" name="Rectángulo 28">
            <a:extLst>
              <a:ext uri="{FF2B5EF4-FFF2-40B4-BE49-F238E27FC236}">
                <a16:creationId xmlns:a16="http://schemas.microsoft.com/office/drawing/2014/main" id="{40E94490-7EB2-43B2-B873-248A146D0AB7}"/>
              </a:ext>
            </a:extLst>
          </p:cNvPr>
          <p:cNvSpPr/>
          <p:nvPr/>
        </p:nvSpPr>
        <p:spPr>
          <a:xfrm>
            <a:off x="5386299" y="4383345"/>
            <a:ext cx="498856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y</a:t>
            </a:r>
            <a:endParaRPr lang="es-ES" sz="4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67612F12-4199-4E51-8D9B-72B82FC389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85155" y="3614336"/>
            <a:ext cx="934513" cy="2549249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A6BEE094-4B37-441D-B1B8-A399A246A5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54710" y="3614336"/>
            <a:ext cx="1000505" cy="2549249"/>
          </a:xfrm>
          <a:prstGeom prst="rect">
            <a:avLst/>
          </a:prstGeom>
        </p:spPr>
      </p:pic>
      <p:sp>
        <p:nvSpPr>
          <p:cNvPr id="33" name="Rectángulo 32">
            <a:extLst>
              <a:ext uri="{FF2B5EF4-FFF2-40B4-BE49-F238E27FC236}">
                <a16:creationId xmlns:a16="http://schemas.microsoft.com/office/drawing/2014/main" id="{45A3163C-ADE7-484A-94B1-D112BCFCF779}"/>
              </a:ext>
            </a:extLst>
          </p:cNvPr>
          <p:cNvSpPr/>
          <p:nvPr/>
        </p:nvSpPr>
        <p:spPr>
          <a:xfrm>
            <a:off x="128945" y="3236008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5</a:t>
            </a:r>
            <a:endParaRPr lang="es-E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347ECC9F-6CB1-4F22-88E8-94429B528F7B}"/>
              </a:ext>
            </a:extLst>
          </p:cNvPr>
          <p:cNvSpPr/>
          <p:nvPr/>
        </p:nvSpPr>
        <p:spPr>
          <a:xfrm>
            <a:off x="6840244" y="4383345"/>
            <a:ext cx="633508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y'</a:t>
            </a:r>
            <a:endParaRPr lang="es-ES" sz="4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30" name="Imagen 29">
            <a:extLst>
              <a:ext uri="{FF2B5EF4-FFF2-40B4-BE49-F238E27FC236}">
                <a16:creationId xmlns:a16="http://schemas.microsoft.com/office/drawing/2014/main" id="{CD8BD60E-FD54-43B4-A26D-0A492294F3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10943" y="4400511"/>
            <a:ext cx="2381845" cy="1611078"/>
          </a:xfrm>
          <a:prstGeom prst="rect">
            <a:avLst/>
          </a:prstGeom>
        </p:spPr>
      </p:pic>
      <p:pic>
        <p:nvPicPr>
          <p:cNvPr id="31" name="Imagen 30">
            <a:extLst>
              <a:ext uri="{FF2B5EF4-FFF2-40B4-BE49-F238E27FC236}">
                <a16:creationId xmlns:a16="http://schemas.microsoft.com/office/drawing/2014/main" id="{454C6958-3FFA-4764-A5E0-FCAA1DDD52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92788" y="4398772"/>
            <a:ext cx="2381846" cy="1611079"/>
          </a:xfrm>
          <a:prstGeom prst="rect">
            <a:avLst/>
          </a:prstGeom>
        </p:spPr>
      </p:pic>
      <p:pic>
        <p:nvPicPr>
          <p:cNvPr id="32" name="Imagen 31">
            <a:extLst>
              <a:ext uri="{FF2B5EF4-FFF2-40B4-BE49-F238E27FC236}">
                <a16:creationId xmlns:a16="http://schemas.microsoft.com/office/drawing/2014/main" id="{FD8439E0-BD52-47B4-9FE5-0A1C6D0EA2B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8391" y="4169888"/>
            <a:ext cx="3551375" cy="2072325"/>
          </a:xfrm>
          <a:prstGeom prst="rect">
            <a:avLst/>
          </a:prstGeom>
        </p:spPr>
      </p:pic>
      <p:sp>
        <p:nvSpPr>
          <p:cNvPr id="38" name="Rectángulo 37">
            <a:extLst>
              <a:ext uri="{FF2B5EF4-FFF2-40B4-BE49-F238E27FC236}">
                <a16:creationId xmlns:a16="http://schemas.microsoft.com/office/drawing/2014/main" id="{5C608908-6DE1-452C-B797-E1BCAAD080A3}"/>
              </a:ext>
            </a:extLst>
          </p:cNvPr>
          <p:cNvSpPr/>
          <p:nvPr/>
        </p:nvSpPr>
        <p:spPr>
          <a:xfrm>
            <a:off x="155575" y="4721719"/>
            <a:ext cx="56938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87525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5" grpId="0"/>
      <p:bldP spid="26" grpId="0"/>
      <p:bldP spid="29" grpId="0"/>
      <p:bldP spid="33" grpId="0"/>
      <p:bldP spid="34" grpId="0"/>
      <p:bldP spid="3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6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30084" y="573408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R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2" name="Rectángulo: esquinas redondeadas 4">
            <a:extLst>
              <a:ext uri="{FF2B5EF4-FFF2-40B4-BE49-F238E27FC236}">
                <a16:creationId xmlns:a16="http://schemas.microsoft.com/office/drawing/2014/main" id="{B4B79530-B4CC-4CFB-887D-8451491D01EA}"/>
              </a:ext>
            </a:extLst>
          </p:cNvPr>
          <p:cNvSpPr/>
          <p:nvPr/>
        </p:nvSpPr>
        <p:spPr bwMode="auto">
          <a:xfrm>
            <a:off x="4661460" y="1439457"/>
            <a:ext cx="3962400" cy="60147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Which is the library we need for read.csv?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188891" y="1333043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A1D9332-E351-4068-894E-148D7CFD931F}"/>
              </a:ext>
            </a:extLst>
          </p:cNvPr>
          <p:cNvSpPr/>
          <p:nvPr/>
        </p:nvSpPr>
        <p:spPr>
          <a:xfrm>
            <a:off x="188891" y="2275985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53A409EA-FA28-4469-9040-DC3FAF803C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590" y="1497452"/>
            <a:ext cx="3766995" cy="446166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4DADE47E-91C1-418C-A3A5-9A423A7C71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2157137"/>
            <a:ext cx="4267200" cy="1320491"/>
          </a:xfrm>
          <a:prstGeom prst="rect">
            <a:avLst/>
          </a:prstGeom>
        </p:spPr>
      </p:pic>
      <p:sp>
        <p:nvSpPr>
          <p:cNvPr id="17" name="Rectángulo: esquinas redondeadas 4">
            <a:extLst>
              <a:ext uri="{FF2B5EF4-FFF2-40B4-BE49-F238E27FC236}">
                <a16:creationId xmlns:a16="http://schemas.microsoft.com/office/drawing/2014/main" id="{081E5D08-736D-46EC-B63B-80B9DF913F23}"/>
              </a:ext>
            </a:extLst>
          </p:cNvPr>
          <p:cNvSpPr/>
          <p:nvPr/>
        </p:nvSpPr>
        <p:spPr bwMode="auto">
          <a:xfrm>
            <a:off x="5132309" y="2337746"/>
            <a:ext cx="3962400" cy="776165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400" kern="0" dirty="0"/>
              <a:t>Remember, the library </a:t>
            </a:r>
            <a:r>
              <a:rPr lang="en-US" sz="1400" kern="0" dirty="0" err="1"/>
              <a:t>caTools</a:t>
            </a:r>
            <a:r>
              <a:rPr lang="en-US" sz="1400" kern="0" dirty="0"/>
              <a:t> is required for splitting the dataset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EB6D2928-409A-4460-846F-32B9372FBD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000" y="3593836"/>
            <a:ext cx="3912037" cy="552575"/>
          </a:xfrm>
          <a:prstGeom prst="rect">
            <a:avLst/>
          </a:prstGeom>
        </p:spPr>
      </p:pic>
      <p:sp>
        <p:nvSpPr>
          <p:cNvPr id="20" name="Rectángulo 19">
            <a:extLst>
              <a:ext uri="{FF2B5EF4-FFF2-40B4-BE49-F238E27FC236}">
                <a16:creationId xmlns:a16="http://schemas.microsoft.com/office/drawing/2014/main" id="{6C1AC668-2C3F-4601-9BA0-14C3DB6F8FD7}"/>
              </a:ext>
            </a:extLst>
          </p:cNvPr>
          <p:cNvSpPr/>
          <p:nvPr/>
        </p:nvSpPr>
        <p:spPr>
          <a:xfrm>
            <a:off x="169443" y="3507325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3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A4532294-9AE0-41C0-9F44-F6714451B9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29361" y="3581400"/>
            <a:ext cx="4134926" cy="2362200"/>
          </a:xfrm>
          <a:prstGeom prst="rect">
            <a:avLst/>
          </a:prstGeom>
        </p:spPr>
      </p:pic>
      <p:sp>
        <p:nvSpPr>
          <p:cNvPr id="25" name="Rectángulo: esquinas redondeadas 4">
            <a:extLst>
              <a:ext uri="{FF2B5EF4-FFF2-40B4-BE49-F238E27FC236}">
                <a16:creationId xmlns:a16="http://schemas.microsoft.com/office/drawing/2014/main" id="{D0C8C4F9-0B41-42C1-8DBE-21E609A52C80}"/>
              </a:ext>
            </a:extLst>
          </p:cNvPr>
          <p:cNvSpPr/>
          <p:nvPr/>
        </p:nvSpPr>
        <p:spPr bwMode="auto">
          <a:xfrm>
            <a:off x="564887" y="4282929"/>
            <a:ext cx="3962400" cy="184785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08000" tIns="108000" rIns="108000" bIns="108000" rtlCol="0" anchor="t">
            <a:noAutofit/>
          </a:bodyPr>
          <a:lstStyle/>
          <a:p>
            <a:pPr algn="just"/>
            <a:r>
              <a:rPr lang="en-US" sz="1200" kern="0" dirty="0"/>
              <a:t>Let’s talk about:</a:t>
            </a:r>
          </a:p>
          <a:p>
            <a:pPr algn="just"/>
            <a:endParaRPr lang="en-US" sz="1200" kern="0" dirty="0"/>
          </a:p>
          <a:p>
            <a:pPr algn="just"/>
            <a:r>
              <a:rPr lang="en-US" sz="1200" kern="0" dirty="0"/>
              <a:t>-Residuals		-Coefficients</a:t>
            </a:r>
          </a:p>
          <a:p>
            <a:pPr algn="just"/>
            <a:r>
              <a:rPr lang="en-US" sz="1200" kern="0" dirty="0"/>
              <a:t>-Estimates		-Std. Error</a:t>
            </a:r>
          </a:p>
          <a:p>
            <a:pPr algn="just"/>
            <a:r>
              <a:rPr lang="en-US" sz="1200" kern="0" dirty="0"/>
              <a:t>-t value		-Significance codes</a:t>
            </a:r>
          </a:p>
          <a:p>
            <a:pPr algn="just"/>
            <a:r>
              <a:rPr lang="en-US" sz="1200" kern="0" dirty="0"/>
              <a:t>-Degrees of freedom	-R-squared</a:t>
            </a:r>
          </a:p>
          <a:p>
            <a:pPr algn="just"/>
            <a:r>
              <a:rPr lang="en-US" sz="1200" kern="0" dirty="0"/>
              <a:t>-Adjusted R-Squared	-F-statistic</a:t>
            </a:r>
          </a:p>
          <a:p>
            <a:pPr algn="just"/>
            <a:r>
              <a:rPr lang="en-US" sz="1200" kern="0" dirty="0"/>
              <a:t>-p-value*</a:t>
            </a:r>
          </a:p>
          <a:p>
            <a:pPr algn="just"/>
            <a:endParaRPr lang="en-US" sz="1200" kern="0" dirty="0"/>
          </a:p>
          <a:p>
            <a:pPr algn="just"/>
            <a:endParaRPr lang="en-US" sz="1400" kern="0" dirty="0"/>
          </a:p>
          <a:p>
            <a:pPr algn="just"/>
            <a:endParaRPr lang="en-US" sz="1400" kern="0" dirty="0"/>
          </a:p>
        </p:txBody>
      </p:sp>
    </p:spTree>
    <p:extLst>
      <p:ext uri="{BB962C8B-B14F-4D97-AF65-F5344CB8AC3E}">
        <p14:creationId xmlns:p14="http://schemas.microsoft.com/office/powerpoint/2010/main" val="130625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" grpId="0"/>
      <p:bldP spid="15" grpId="0"/>
      <p:bldP spid="17" grpId="0" animBg="1"/>
      <p:bldP spid="20" grpId="0"/>
      <p:bldP spid="2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AFA67-7C8B-4EA0-933E-747485AFD1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7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6" name="AutoShape 4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155575" y="-8842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6" descr="https://www.attivio.com/sites/default/files/styles/original/public/OEM-Icon_0.png?itok=2Hj564m1"/>
          <p:cNvSpPr>
            <a:spLocks noChangeAspect="1" noChangeArrowheads="1"/>
          </p:cNvSpPr>
          <p:nvPr/>
        </p:nvSpPr>
        <p:spPr bwMode="auto">
          <a:xfrm>
            <a:off x="307975" y="-731838"/>
            <a:ext cx="2133600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-155575" y="13259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" pitchFamily="34" charset="0"/>
                <a:cs typeface="Segoe UI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C0535C0B-11E9-4667-8977-1122FFA90391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in R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242A5709-0D6F-4E92-8C06-B7E78C748FE1}"/>
              </a:ext>
            </a:extLst>
          </p:cNvPr>
          <p:cNvSpPr/>
          <p:nvPr/>
        </p:nvSpPr>
        <p:spPr>
          <a:xfrm>
            <a:off x="188891" y="1333043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4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A1D9332-E351-4068-894E-148D7CFD931F}"/>
              </a:ext>
            </a:extLst>
          </p:cNvPr>
          <p:cNvSpPr/>
          <p:nvPr/>
        </p:nvSpPr>
        <p:spPr>
          <a:xfrm>
            <a:off x="188891" y="2037604"/>
            <a:ext cx="47000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5</a:t>
            </a:r>
            <a:endParaRPr lang="es-ES" sz="4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7016437-5923-49E8-A41C-86513DCC7E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355" y="1512414"/>
            <a:ext cx="3586070" cy="39147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D735E93D-568B-4404-A977-22293B2706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355" y="2187028"/>
            <a:ext cx="7816767" cy="3227201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B9003F46-916C-4B18-87C9-DE85CAEECB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794" y="2861642"/>
            <a:ext cx="4006557" cy="2246299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F36CE7B3-E043-4F1E-A49D-A8B698BFD6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65651" y="2861642"/>
            <a:ext cx="4006556" cy="2246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240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8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4BA295C-F954-4B10-9D8A-9A970561E3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677" y="1259199"/>
            <a:ext cx="7010400" cy="2157964"/>
          </a:xfrm>
          <a:prstGeom prst="rect">
            <a:avLst/>
          </a:prstGeom>
        </p:spPr>
      </p:pic>
      <p:sp>
        <p:nvSpPr>
          <p:cNvPr id="9" name="Title 6">
            <a:extLst>
              <a:ext uri="{FF2B5EF4-FFF2-40B4-BE49-F238E27FC236}">
                <a16:creationId xmlns:a16="http://schemas.microsoft.com/office/drawing/2014/main" id="{3ABDAA1A-E552-4365-A0A4-176DB81F3B45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BA9C0018-642C-4EF1-8603-E13C877123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489" y="3124200"/>
            <a:ext cx="7169421" cy="3211620"/>
          </a:xfrm>
          <a:prstGeom prst="rect">
            <a:avLst/>
          </a:prstGeom>
        </p:spPr>
      </p:pic>
      <p:sp>
        <p:nvSpPr>
          <p:cNvPr id="10" name="Elipse 9">
            <a:extLst>
              <a:ext uri="{FF2B5EF4-FFF2-40B4-BE49-F238E27FC236}">
                <a16:creationId xmlns:a16="http://schemas.microsoft.com/office/drawing/2014/main" id="{541C5786-1B2B-4918-AAF1-23606ADEBD6E}"/>
              </a:ext>
            </a:extLst>
          </p:cNvPr>
          <p:cNvSpPr/>
          <p:nvPr/>
        </p:nvSpPr>
        <p:spPr bwMode="auto">
          <a:xfrm>
            <a:off x="173477" y="2514600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72E2A9AC-338A-4BCB-B098-4316E7EDE02E}"/>
              </a:ext>
            </a:extLst>
          </p:cNvPr>
          <p:cNvSpPr/>
          <p:nvPr/>
        </p:nvSpPr>
        <p:spPr bwMode="auto">
          <a:xfrm>
            <a:off x="173477" y="4594495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8131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330FD-FE2A-483E-B0C7-29AD7FB3CAEB}" type="slidenum">
              <a:rPr lang="en-GB" smtClean="0"/>
              <a:pPr/>
              <a:t>9</a:t>
            </a:fld>
            <a:r>
              <a:rPr lang="en-GB"/>
              <a:t> /  evalueserve.com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2017 Evalueserve. All rights reserved.</a:t>
            </a:r>
            <a:endParaRPr lang="en-GB" dirty="0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3ABDAA1A-E552-4365-A0A4-176DB81F3B45}"/>
              </a:ext>
            </a:extLst>
          </p:cNvPr>
          <p:cNvSpPr txBox="1">
            <a:spLocks/>
          </p:cNvSpPr>
          <p:nvPr/>
        </p:nvSpPr>
        <p:spPr>
          <a:xfrm>
            <a:off x="517360" y="519750"/>
            <a:ext cx="8072469" cy="709521"/>
          </a:xfrm>
          <a:prstGeom prst="rect">
            <a:avLst/>
          </a:prstGeom>
        </p:spPr>
        <p:txBody>
          <a:bodyPr vert="horz" lIns="0" tIns="40103" rIns="0" bIns="40103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100" b="0" dirty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5pPr>
            <a:lvl6pPr marL="457126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6pPr>
            <a:lvl7pPr marL="914254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7pPr>
            <a:lvl8pPr marL="1371382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8pPr>
            <a:lvl9pPr marL="1828508" algn="l" rtl="0" eaLnBrk="1" fontAlgn="base" hangingPunct="1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Simple Linear </a:t>
            </a:r>
            <a:r>
              <a:rPr kumimoji="0" lang="es-CL" sz="2100" b="0" i="0" u="none" strike="noStrike" kern="0" cap="none" spc="0" normalizeH="0" baseline="0" noProof="0" dirty="0" err="1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Regression</a:t>
            </a:r>
            <a:r>
              <a:rPr kumimoji="0" lang="es-CL" sz="2100" b="0" i="0" u="none" strike="noStrike" kern="0" cap="none" spc="0" normalizeH="0" baseline="0" noProof="0" dirty="0">
                <a:ln>
                  <a:noFill/>
                </a:ln>
                <a:solidFill>
                  <a:srgbClr val="EE2653"/>
                </a:solidFill>
                <a:effectLst/>
                <a:uLnTx/>
                <a:uFillTx/>
                <a:latin typeface="Arial" panose="020B0604020202020204"/>
                <a:ea typeface="Verdana" pitchFamily="34" charset="0"/>
              </a:rPr>
              <a:t> Quiz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EE2653"/>
              </a:solidFill>
              <a:effectLst/>
              <a:uLnTx/>
              <a:uFillTx/>
              <a:latin typeface="Arial" panose="020B0604020202020204"/>
              <a:ea typeface="Verdana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EABE582C-7247-4544-8BC9-8FA17BB0F5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70" y="1229271"/>
            <a:ext cx="6668201" cy="3037929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907393C9-8189-47E9-85F5-45D1779A4F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829" y="3807419"/>
            <a:ext cx="6309371" cy="2466001"/>
          </a:xfrm>
          <a:prstGeom prst="rect">
            <a:avLst/>
          </a:prstGeom>
        </p:spPr>
      </p:pic>
      <p:sp>
        <p:nvSpPr>
          <p:cNvPr id="10" name="Elipse 9">
            <a:extLst>
              <a:ext uri="{FF2B5EF4-FFF2-40B4-BE49-F238E27FC236}">
                <a16:creationId xmlns:a16="http://schemas.microsoft.com/office/drawing/2014/main" id="{32F6330A-742C-487C-99CA-7B6C84EDB7E8}"/>
              </a:ext>
            </a:extLst>
          </p:cNvPr>
          <p:cNvSpPr/>
          <p:nvPr/>
        </p:nvSpPr>
        <p:spPr bwMode="auto">
          <a:xfrm>
            <a:off x="173477" y="2514600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EB91ED9D-6881-482B-9B92-9F0D69C5B84D}"/>
              </a:ext>
            </a:extLst>
          </p:cNvPr>
          <p:cNvSpPr/>
          <p:nvPr/>
        </p:nvSpPr>
        <p:spPr bwMode="auto">
          <a:xfrm>
            <a:off x="173477" y="5259397"/>
            <a:ext cx="152400" cy="166649"/>
          </a:xfrm>
          <a:prstGeom prst="ellipse">
            <a:avLst/>
          </a:prstGeom>
          <a:solidFill>
            <a:srgbClr val="003250"/>
          </a:solidFill>
          <a:ln w="9525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algn="l"/>
            <a:endParaRPr lang="en-US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2514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alueserve Common Layout">
  <a:themeElements>
    <a:clrScheme name="Evalueserve New Theme">
      <a:dk1>
        <a:srgbClr val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16D2F853-B6A7-41A7-A66D-EDC45D59D9A1}"/>
    </a:ext>
  </a:extLst>
</a:theme>
</file>

<file path=ppt/theme/theme2.xml><?xml version="1.0" encoding="utf-8"?>
<a:theme xmlns:a="http://schemas.openxmlformats.org/drawingml/2006/main" name="Evalueserve Pink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95F03569-6932-431F-A78E-9F755726E304}"/>
    </a:ext>
  </a:extLst>
</a:theme>
</file>

<file path=ppt/theme/theme3.xml><?xml version="1.0" encoding="utf-8"?>
<a:theme xmlns:a="http://schemas.openxmlformats.org/drawingml/2006/main" name="Evalueserve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8915B2CC-3F9C-4D74-AAC3-2B584A303086}"/>
    </a:ext>
  </a:extLst>
</a:theme>
</file>

<file path=ppt/theme/theme4.xml><?xml version="1.0" encoding="utf-8"?>
<a:theme xmlns:a="http://schemas.openxmlformats.org/drawingml/2006/main" name="Evalueserve Dark Purple Theme">
  <a:themeElements>
    <a:clrScheme name="Custom Colors - Evalueserve">
      <a:dk1>
        <a:sysClr val="windowText" lastClr="000000"/>
      </a:dk1>
      <a:lt1>
        <a:srgbClr val="FFFFFF"/>
      </a:lt1>
      <a:dk2>
        <a:srgbClr val="EE2653"/>
      </a:dk2>
      <a:lt2>
        <a:srgbClr val="939598"/>
      </a:lt2>
      <a:accent1>
        <a:srgbClr val="9D2C7D"/>
      </a:accent1>
      <a:accent2>
        <a:srgbClr val="7C6CAA"/>
      </a:accent2>
      <a:accent3>
        <a:srgbClr val="5AB7E8"/>
      </a:accent3>
      <a:accent4>
        <a:srgbClr val="F38AB1"/>
      </a:accent4>
      <a:accent5>
        <a:srgbClr val="AFA2BF"/>
      </a:accent5>
      <a:accent6>
        <a:srgbClr val="B2D9F4"/>
      </a:accent6>
      <a:hlink>
        <a:srgbClr val="315EA5"/>
      </a:hlink>
      <a:folHlink>
        <a:srgbClr val="4725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3250"/>
        </a:solidFill>
        <a:ln w="9525">
          <a:noFill/>
          <a:miter lim="800000"/>
          <a:headEnd/>
          <a:tailEnd/>
        </a:ln>
        <a:effectLst/>
      </a:spPr>
      <a:bodyPr lIns="108000" tIns="108000" rIns="108000" bIns="108000" rtlCol="0" anchor="ctr">
        <a:noAutofit/>
      </a:bodyPr>
      <a:lstStyle>
        <a:defPPr algn="l">
          <a:defRPr smtClean="0">
            <a:latin typeface="Verdana" pitchFamily="34" charset="0"/>
            <a:ea typeface="Verdana" pitchFamily="34" charset="0"/>
            <a:cs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+mj-lt"/>
          </a:defRPr>
        </a:defPPr>
      </a:lstStyle>
    </a:tx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315EA5"/>
    </a:custClr>
    <a:custClr name="Custom Color 2">
      <a:srgbClr val="47254B"/>
    </a:custClr>
    <a:custClr name="Custom Color 3">
      <a:srgbClr val="4E7FB3"/>
    </a:custClr>
    <a:custClr name="Custom Color 4">
      <a:srgbClr val="AF2349"/>
    </a:custClr>
    <a:custClr name="Custom Color 5">
      <a:srgbClr val="840037"/>
    </a:custClr>
    <a:custClr name="Custom Color 6">
      <a:srgbClr val="AF5E90"/>
    </a:custClr>
    <a:custClr name="Custom Color 7">
      <a:srgbClr val="839EC9"/>
    </a:custClr>
    <a:custClr name="Custom Color 8">
      <a:srgbClr val="BEBFC1"/>
    </a:custClr>
    <a:custClr name="Custom Color 9">
      <a:srgbClr val="917C93"/>
    </a:custClr>
  </a:custClrLst>
  <a:extLst>
    <a:ext uri="{05A4C25C-085E-4340-85A3-A5531E510DB2}">
      <thm15:themeFamily xmlns:thm15="http://schemas.microsoft.com/office/thememl/2012/main" name="Evalueserve_Sections_Template_28, April 2015.potx" id="{39CB17F5-79C8-4044-9C90-9DD742FB7165}" vid="{1EF3E39D-FC65-4436-9B55-05D49828E21E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valueserve PowerPoint Template</Template>
  <TotalTime>8154</TotalTime>
  <Words>1111</Words>
  <Application>Microsoft Office PowerPoint</Application>
  <PresentationFormat>Presentación en pantalla (4:3)</PresentationFormat>
  <Paragraphs>258</Paragraphs>
  <Slides>27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7</vt:i4>
      </vt:variant>
    </vt:vector>
  </HeadingPairs>
  <TitlesOfParts>
    <vt:vector size="36" baseType="lpstr">
      <vt:lpstr>Arial</vt:lpstr>
      <vt:lpstr>Calibri</vt:lpstr>
      <vt:lpstr>Segoe UI</vt:lpstr>
      <vt:lpstr>Verdana</vt:lpstr>
      <vt:lpstr>Evalueserve Common Layout</vt:lpstr>
      <vt:lpstr>Evalueserve Pink Theme</vt:lpstr>
      <vt:lpstr>Evalueserve Purple Theme</vt:lpstr>
      <vt:lpstr>Evalueserve Dark Purple Theme</vt:lpstr>
      <vt:lpstr>think-cell Slide</vt:lpstr>
      <vt:lpstr>Machine Learning A-Z™: Hands-On Python &amp; R In Data Science</vt:lpstr>
      <vt:lpstr>Content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Multiple Linear Regression</vt:lpstr>
      <vt:lpstr>How to build a model?</vt:lpstr>
      <vt:lpstr>Backward Elimination</vt:lpstr>
      <vt:lpstr>Forward Selection</vt:lpstr>
      <vt:lpstr>Stepwise Selection</vt:lpstr>
      <vt:lpstr>Presentación de PowerPoint</vt:lpstr>
      <vt:lpstr>Presentación de PowerPoint</vt:lpstr>
      <vt:lpstr>Presentación de PowerPoint</vt:lpstr>
      <vt:lpstr>Presentación de PowerPoint</vt:lpstr>
      <vt:lpstr>Backwards Elimination in R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Tosh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keting Profitability</dc:title>
  <dc:creator>Erick</dc:creator>
  <cp:lastModifiedBy>Juan Carlos Urrutia Jimenez</cp:lastModifiedBy>
  <cp:revision>186</cp:revision>
  <dcterms:created xsi:type="dcterms:W3CDTF">2015-08-27T23:57:25Z</dcterms:created>
  <dcterms:modified xsi:type="dcterms:W3CDTF">2019-06-07T06:13:06Z</dcterms:modified>
</cp:coreProperties>
</file>